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mp3" ContentType="audio/mp3"/>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fonts/font1.fntdata" ContentType="application/x-fontdata"/>
  <Override PartName="/ppt/fonts/font2.fntdata" ContentType="application/x-fontdata"/>
  <Override PartName="/ppt/fonts/font3.fntdata" ContentType="application/x-fontdata"/>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4"/>
  </p:notesMasterIdLst>
  <p:sldIdLst>
    <p:sldId id="276" r:id="rId3"/>
    <p:sldId id="274" r:id="rId5"/>
    <p:sldId id="275" r:id="rId6"/>
    <p:sldId id="4465" r:id="rId7"/>
    <p:sldId id="4430" r:id="rId8"/>
    <p:sldId id="4431" r:id="rId9"/>
    <p:sldId id="4466" r:id="rId10"/>
    <p:sldId id="4467" r:id="rId11"/>
    <p:sldId id="4468" r:id="rId12"/>
    <p:sldId id="4469" r:id="rId13"/>
    <p:sldId id="4470" r:id="rId14"/>
    <p:sldId id="4471" r:id="rId15"/>
    <p:sldId id="4463" r:id="rId16"/>
    <p:sldId id="265" r:id="rId17"/>
    <p:sldId id="289" r:id="rId18"/>
    <p:sldId id="4473" r:id="rId19"/>
    <p:sldId id="266" r:id="rId20"/>
    <p:sldId id="4464" r:id="rId21"/>
    <p:sldId id="4484" r:id="rId22"/>
    <p:sldId id="4474" r:id="rId23"/>
    <p:sldId id="4478" r:id="rId24"/>
    <p:sldId id="4416" r:id="rId25"/>
    <p:sldId id="4475" r:id="rId26"/>
    <p:sldId id="4479" r:id="rId27"/>
    <p:sldId id="4476" r:id="rId28"/>
    <p:sldId id="4482" r:id="rId29"/>
    <p:sldId id="4480" r:id="rId30"/>
    <p:sldId id="4477" r:id="rId31"/>
    <p:sldId id="3511" r:id="rId32"/>
    <p:sldId id="288" r:id="rId33"/>
    <p:sldId id="280" r:id="rId34"/>
  </p:sldIdLst>
  <p:sldSz cx="12192000" cy="6858000"/>
  <p:notesSz cx="6858000" cy="9144000"/>
  <p:embeddedFontLst>
    <p:embeddedFont>
      <p:font typeface="汉仪粗圆简" panose="02010600000101010101" charset="-122"/>
      <p:regular r:id="rId38"/>
    </p:embeddedFont>
    <p:embeddedFont>
      <p:font typeface="站酷快乐体" panose="02010600030101010101" charset="-128"/>
      <p:regular r:id="rId39"/>
    </p:embeddedFont>
    <p:embeddedFont>
      <p:font typeface="等线" panose="02010600030101010101" charset="-122"/>
      <p:regular r:id="rId40"/>
    </p:embeddedFont>
  </p:embeddedFontLst>
  <p:custDataLst>
    <p:tags r:id="rId4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showPr>
  <p:clrMru>
    <a:srgbClr val="FFD497"/>
    <a:srgbClr val="F2F2F2"/>
    <a:srgbClr val="FDEFDC"/>
    <a:srgbClr val="D7DAE2"/>
    <a:srgbClr val="FFD7A9"/>
    <a:srgbClr val="746760"/>
    <a:srgbClr val="FFD6A4"/>
    <a:srgbClr val="C7C7C7"/>
    <a:srgbClr val="FEDCCA"/>
    <a:srgbClr val="D6C9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2" autoAdjust="0"/>
    <p:restoredTop sz="94660"/>
  </p:normalViewPr>
  <p:slideViewPr>
    <p:cSldViewPr snapToGrid="0">
      <p:cViewPr>
        <p:scale>
          <a:sx n="25" d="100"/>
          <a:sy n="25" d="100"/>
        </p:scale>
        <p:origin x="1362" y="1104"/>
      </p:cViewPr>
      <p:guideLst/>
    </p:cSldViewPr>
  </p:slideViewPr>
  <p:notesTextViewPr>
    <p:cViewPr>
      <p:scale>
        <a:sx n="1" d="1"/>
        <a:sy n="1" d="1"/>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1" Type="http://schemas.openxmlformats.org/officeDocument/2006/relationships/tags" Target="tags/tag5.xml"/><Relationship Id="rId40" Type="http://schemas.openxmlformats.org/officeDocument/2006/relationships/font" Target="fonts/font3.fntdata"/><Relationship Id="rId4" Type="http://schemas.openxmlformats.org/officeDocument/2006/relationships/notesMaster" Target="notesMasters/notesMaster1.xml"/><Relationship Id="rId39" Type="http://schemas.openxmlformats.org/officeDocument/2006/relationships/font" Target="fonts/font2.fntdata"/><Relationship Id="rId38" Type="http://schemas.openxmlformats.org/officeDocument/2006/relationships/font" Target="fonts/font1.fntdata"/><Relationship Id="rId37" Type="http://schemas.openxmlformats.org/officeDocument/2006/relationships/tableStyles" Target="tableStyles.xml"/><Relationship Id="rId36" Type="http://schemas.openxmlformats.org/officeDocument/2006/relationships/viewProps" Target="viewProps.xml"/><Relationship Id="rId35" Type="http://schemas.openxmlformats.org/officeDocument/2006/relationships/presProps" Target="presProps.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E5725E-21C4-45DA-A63B-BC9616C8F76D}"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4337EA-39A3-49B0-9230-C12BAE014FEF}"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C4E134A-B905-4398-9E89-2E7193A87BDD}"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894337EA-39A3-49B0-9230-C12BAE014FEF}"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4_空白">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7" name="Picture Placeholder 7"/>
          <p:cNvSpPr>
            <a:spLocks noGrp="1"/>
          </p:cNvSpPr>
          <p:nvPr>
            <p:ph type="pic" sz="quarter" idx="18" hasCustomPrompt="1"/>
          </p:nvPr>
        </p:nvSpPr>
        <p:spPr>
          <a:xfrm>
            <a:off x="2763983" y="2969668"/>
            <a:ext cx="2119842" cy="3888331"/>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8" name="Picture Placeholder 7"/>
          <p:cNvSpPr>
            <a:spLocks noGrp="1"/>
          </p:cNvSpPr>
          <p:nvPr>
            <p:ph type="pic" sz="quarter" idx="19" hasCustomPrompt="1"/>
          </p:nvPr>
        </p:nvSpPr>
        <p:spPr>
          <a:xfrm>
            <a:off x="5036079" y="2969668"/>
            <a:ext cx="2119842" cy="3888331"/>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9" name="Picture Placeholder 7"/>
          <p:cNvSpPr>
            <a:spLocks noGrp="1"/>
          </p:cNvSpPr>
          <p:nvPr>
            <p:ph type="pic" sz="quarter" idx="20" hasCustomPrompt="1"/>
          </p:nvPr>
        </p:nvSpPr>
        <p:spPr>
          <a:xfrm>
            <a:off x="7308175" y="2969668"/>
            <a:ext cx="2119842" cy="3888331"/>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6" name="Picture Placeholder 7"/>
          <p:cNvSpPr>
            <a:spLocks noGrp="1"/>
          </p:cNvSpPr>
          <p:nvPr>
            <p:ph type="pic" sz="quarter" idx="18" hasCustomPrompt="1"/>
          </p:nvPr>
        </p:nvSpPr>
        <p:spPr>
          <a:xfrm>
            <a:off x="0" y="1662545"/>
            <a:ext cx="5195455" cy="5195455"/>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7" name="Picture Placeholder 7"/>
          <p:cNvSpPr>
            <a:spLocks noGrp="1"/>
          </p:cNvSpPr>
          <p:nvPr>
            <p:ph type="pic" sz="quarter" idx="19" hasCustomPrompt="1"/>
          </p:nvPr>
        </p:nvSpPr>
        <p:spPr>
          <a:xfrm>
            <a:off x="5403274" y="1662546"/>
            <a:ext cx="2230582" cy="2230582"/>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8" name="Picture Placeholder 7"/>
          <p:cNvSpPr>
            <a:spLocks noGrp="1"/>
          </p:cNvSpPr>
          <p:nvPr>
            <p:ph type="pic" sz="quarter" idx="20" hasCustomPrompt="1"/>
          </p:nvPr>
        </p:nvSpPr>
        <p:spPr>
          <a:xfrm>
            <a:off x="7633855" y="3893128"/>
            <a:ext cx="2230582" cy="2230582"/>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4" name="Picture Placeholder 7"/>
          <p:cNvSpPr>
            <a:spLocks noGrp="1"/>
          </p:cNvSpPr>
          <p:nvPr>
            <p:ph type="pic" sz="quarter" idx="18" hasCustomPrompt="1"/>
          </p:nvPr>
        </p:nvSpPr>
        <p:spPr>
          <a:xfrm>
            <a:off x="1943594" y="1415284"/>
            <a:ext cx="4779818" cy="4027432"/>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4" name="Picture Placeholder 7"/>
          <p:cNvSpPr>
            <a:spLocks noGrp="1"/>
          </p:cNvSpPr>
          <p:nvPr>
            <p:ph type="pic" sz="quarter" idx="19" hasCustomPrompt="1"/>
          </p:nvPr>
        </p:nvSpPr>
        <p:spPr>
          <a:xfrm>
            <a:off x="6539346" y="893617"/>
            <a:ext cx="2646219" cy="5070763"/>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sp>
        <p:nvSpPr>
          <p:cNvPr id="6" name="Picture Placeholder 7"/>
          <p:cNvSpPr>
            <a:spLocks noGrp="1"/>
          </p:cNvSpPr>
          <p:nvPr>
            <p:ph type="pic" sz="quarter" idx="19" hasCustomPrompt="1"/>
          </p:nvPr>
        </p:nvSpPr>
        <p:spPr>
          <a:xfrm>
            <a:off x="1052945" y="2362201"/>
            <a:ext cx="5514109" cy="2493818"/>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7" name="Picture Placeholder 7"/>
          <p:cNvSpPr>
            <a:spLocks noGrp="1"/>
          </p:cNvSpPr>
          <p:nvPr>
            <p:ph type="pic" sz="quarter" idx="20" hasCustomPrompt="1"/>
          </p:nvPr>
        </p:nvSpPr>
        <p:spPr>
          <a:xfrm>
            <a:off x="5514109" y="5749634"/>
            <a:ext cx="2992581" cy="1101438"/>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8" name="Picture Placeholder 7"/>
          <p:cNvSpPr>
            <a:spLocks noGrp="1"/>
          </p:cNvSpPr>
          <p:nvPr>
            <p:ph type="pic" sz="quarter" idx="21" hasCustomPrompt="1"/>
          </p:nvPr>
        </p:nvSpPr>
        <p:spPr>
          <a:xfrm>
            <a:off x="8659091" y="4675909"/>
            <a:ext cx="2008909" cy="2175163"/>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down)">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7_Custom Layout">
    <p:spTree>
      <p:nvGrpSpPr>
        <p:cNvPr id="1" name=""/>
        <p:cNvGrpSpPr/>
        <p:nvPr/>
      </p:nvGrpSpPr>
      <p:grpSpPr>
        <a:xfrm>
          <a:off x="0" y="0"/>
          <a:ext cx="0" cy="0"/>
          <a:chOff x="0" y="0"/>
          <a:chExt cx="0" cy="0"/>
        </a:xfrm>
      </p:grpSpPr>
      <p:sp>
        <p:nvSpPr>
          <p:cNvPr id="8" name="Picture Placeholder 7"/>
          <p:cNvSpPr>
            <a:spLocks noGrp="1"/>
          </p:cNvSpPr>
          <p:nvPr>
            <p:ph type="pic" sz="quarter" idx="20" hasCustomPrompt="1"/>
          </p:nvPr>
        </p:nvSpPr>
        <p:spPr>
          <a:xfrm>
            <a:off x="1399308" y="1717964"/>
            <a:ext cx="2604655" cy="2604655"/>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9" name="Picture Placeholder 7"/>
          <p:cNvSpPr>
            <a:spLocks noGrp="1"/>
          </p:cNvSpPr>
          <p:nvPr>
            <p:ph type="pic" sz="quarter" idx="21" hasCustomPrompt="1"/>
          </p:nvPr>
        </p:nvSpPr>
        <p:spPr>
          <a:xfrm>
            <a:off x="4211782" y="2604655"/>
            <a:ext cx="3366654" cy="1108363"/>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10" name="Picture Placeholder 7"/>
          <p:cNvSpPr>
            <a:spLocks noGrp="1"/>
          </p:cNvSpPr>
          <p:nvPr>
            <p:ph type="pic" sz="quarter" idx="22" hasCustomPrompt="1"/>
          </p:nvPr>
        </p:nvSpPr>
        <p:spPr>
          <a:xfrm>
            <a:off x="4211782" y="3906982"/>
            <a:ext cx="3366654" cy="2951018"/>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3_Custom Layout">
    <p:spTree>
      <p:nvGrpSpPr>
        <p:cNvPr id="1" name=""/>
        <p:cNvGrpSpPr/>
        <p:nvPr/>
      </p:nvGrpSpPr>
      <p:grpSpPr>
        <a:xfrm>
          <a:off x="0" y="0"/>
          <a:ext cx="0" cy="0"/>
          <a:chOff x="0" y="0"/>
          <a:chExt cx="0" cy="0"/>
        </a:xfrm>
      </p:grpSpPr>
      <p:sp>
        <p:nvSpPr>
          <p:cNvPr id="6" name="Right Triangle 5"/>
          <p:cNvSpPr/>
          <p:nvPr userDrawn="1"/>
        </p:nvSpPr>
        <p:spPr>
          <a:xfrm flipH="1">
            <a:off x="7073900" y="1756932"/>
            <a:ext cx="5118100" cy="5118100"/>
          </a:xfrm>
          <a:prstGeom prst="r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p:cNvSpPr>
            <a:spLocks noGrp="1"/>
          </p:cNvSpPr>
          <p:nvPr>
            <p:ph type="pic" sz="quarter" idx="10"/>
          </p:nvPr>
        </p:nvSpPr>
        <p:spPr>
          <a:xfrm>
            <a:off x="7073900" y="2933700"/>
            <a:ext cx="4031384" cy="2601914"/>
          </a:xfrm>
          <a:prstGeom prst="rect">
            <a:avLst/>
          </a:prstGeom>
        </p:spPr>
        <p:txBody>
          <a:bodyPr/>
          <a:lstStyle/>
          <a:p>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4_Custom Layout">
    <p:spTree>
      <p:nvGrpSpPr>
        <p:cNvPr id="1" name=""/>
        <p:cNvGrpSpPr/>
        <p:nvPr/>
      </p:nvGrpSpPr>
      <p:grpSpPr>
        <a:xfrm>
          <a:off x="0" y="0"/>
          <a:ext cx="0" cy="0"/>
          <a:chOff x="0" y="0"/>
          <a:chExt cx="0" cy="0"/>
        </a:xfrm>
      </p:grpSpPr>
      <p:sp>
        <p:nvSpPr>
          <p:cNvPr id="4" name="Right Triangle 3"/>
          <p:cNvSpPr/>
          <p:nvPr userDrawn="1"/>
        </p:nvSpPr>
        <p:spPr>
          <a:xfrm rot="5400000">
            <a:off x="-2" y="0"/>
            <a:ext cx="4874233" cy="4874233"/>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p:cNvSpPr/>
          <p:nvPr userDrawn="1"/>
        </p:nvSpPr>
        <p:spPr>
          <a:xfrm>
            <a:off x="-2" y="1490041"/>
            <a:ext cx="8870311" cy="5367962"/>
          </a:xfrm>
          <a:custGeom>
            <a:avLst/>
            <a:gdLst>
              <a:gd name="connsiteX0" fmla="*/ 3502351 w 8870311"/>
              <a:gd name="connsiteY0" fmla="*/ 0 h 5367962"/>
              <a:gd name="connsiteX1" fmla="*/ 8870311 w 8870311"/>
              <a:gd name="connsiteY1" fmla="*/ 5367962 h 5367962"/>
              <a:gd name="connsiteX2" fmla="*/ 0 w 8870311"/>
              <a:gd name="connsiteY2" fmla="*/ 5367962 h 5367962"/>
              <a:gd name="connsiteX3" fmla="*/ 0 w 8870311"/>
              <a:gd name="connsiteY3" fmla="*/ 3502351 h 5367962"/>
            </a:gdLst>
            <a:ahLst/>
            <a:cxnLst>
              <a:cxn ang="0">
                <a:pos x="connsiteX0" y="connsiteY0"/>
              </a:cxn>
              <a:cxn ang="0">
                <a:pos x="connsiteX1" y="connsiteY1"/>
              </a:cxn>
              <a:cxn ang="0">
                <a:pos x="connsiteX2" y="connsiteY2"/>
              </a:cxn>
              <a:cxn ang="0">
                <a:pos x="connsiteX3" y="connsiteY3"/>
              </a:cxn>
            </a:cxnLst>
            <a:rect l="l" t="t" r="r" b="b"/>
            <a:pathLst>
              <a:path w="8870311" h="5367962">
                <a:moveTo>
                  <a:pt x="3502351" y="0"/>
                </a:moveTo>
                <a:lnTo>
                  <a:pt x="8870311" y="5367962"/>
                </a:lnTo>
                <a:lnTo>
                  <a:pt x="0" y="5367962"/>
                </a:lnTo>
                <a:lnTo>
                  <a:pt x="0" y="350235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17"/>
          <p:cNvSpPr>
            <a:spLocks noGrp="1"/>
          </p:cNvSpPr>
          <p:nvPr>
            <p:ph type="pic" sz="quarter" idx="10"/>
          </p:nvPr>
        </p:nvSpPr>
        <p:spPr>
          <a:xfrm>
            <a:off x="3554564" y="0"/>
            <a:ext cx="8637437" cy="6858000"/>
          </a:xfrm>
          <a:custGeom>
            <a:avLst/>
            <a:gdLst>
              <a:gd name="connsiteX0" fmla="*/ 1433563 w 8637437"/>
              <a:gd name="connsiteY0" fmla="*/ 0 h 6858000"/>
              <a:gd name="connsiteX1" fmla="*/ 8637437 w 8637437"/>
              <a:gd name="connsiteY1" fmla="*/ 0 h 6858000"/>
              <a:gd name="connsiteX2" fmla="*/ 8637437 w 8637437"/>
              <a:gd name="connsiteY2" fmla="*/ 6858000 h 6858000"/>
              <a:gd name="connsiteX3" fmla="*/ 5427654 w 8637437"/>
              <a:gd name="connsiteY3" fmla="*/ 6858000 h 6858000"/>
              <a:gd name="connsiteX4" fmla="*/ 0 w 8637437"/>
              <a:gd name="connsiteY4" fmla="*/ 1432892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7437" h="6858000">
                <a:moveTo>
                  <a:pt x="1433563" y="0"/>
                </a:moveTo>
                <a:lnTo>
                  <a:pt x="8637437" y="0"/>
                </a:lnTo>
                <a:lnTo>
                  <a:pt x="8637437" y="6858000"/>
                </a:lnTo>
                <a:lnTo>
                  <a:pt x="5427654" y="6858000"/>
                </a:lnTo>
                <a:lnTo>
                  <a:pt x="0" y="1432892"/>
                </a:lnTo>
                <a:close/>
              </a:path>
            </a:pathLst>
          </a:custGeom>
        </p:spPr>
        <p:txBody>
          <a:bodyPr wrap="square">
            <a:noAutofit/>
          </a:body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6"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4" fill="hold" grpId="0" nodeType="afterEffect" nodePh="1">
                                  <p:stCondLst>
                                    <p:cond delay="0"/>
                                  </p:stCondLst>
                                  <p:endCondLst>
                                    <p:cond evt="begin" delay="0">
                                      <p:tn val="10"/>
                                    </p:cond>
                                  </p:endCondLst>
                                  <p:childTnLst>
                                    <p:set>
                                      <p:cBhvr>
                                        <p:cTn id="11" dur="1" fill="hold">
                                          <p:stCondLst>
                                            <p:cond delay="0"/>
                                          </p:stCondLst>
                                        </p:cTn>
                                        <p:tgtEl>
                                          <p:spTgt spid="18"/>
                                        </p:tgtEl>
                                        <p:attrNameLst>
                                          <p:attrName>style.visibility</p:attrName>
                                        </p:attrNameLst>
                                      </p:cBhvr>
                                      <p:to>
                                        <p:strVal val="visible"/>
                                      </p:to>
                                    </p:set>
                                    <p:animEffect transition="in" filter="wipe(down)">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8" grpId="0"/>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6_Custom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6008026" y="0"/>
            <a:ext cx="6183975" cy="2717206"/>
          </a:xfrm>
          <a:custGeom>
            <a:avLst/>
            <a:gdLst>
              <a:gd name="connsiteX0" fmla="*/ 2716336 w 6183975"/>
              <a:gd name="connsiteY0" fmla="*/ 0 h 2717206"/>
              <a:gd name="connsiteX1" fmla="*/ 6183975 w 6183975"/>
              <a:gd name="connsiteY1" fmla="*/ 0 h 2717206"/>
              <a:gd name="connsiteX2" fmla="*/ 3467639 w 6183975"/>
              <a:gd name="connsiteY2" fmla="*/ 2717206 h 2717206"/>
              <a:gd name="connsiteX3" fmla="*/ 0 w 6183975"/>
              <a:gd name="connsiteY3" fmla="*/ 2717206 h 2717206"/>
            </a:gdLst>
            <a:ahLst/>
            <a:cxnLst>
              <a:cxn ang="0">
                <a:pos x="connsiteX0" y="connsiteY0"/>
              </a:cxn>
              <a:cxn ang="0">
                <a:pos x="connsiteX1" y="connsiteY1"/>
              </a:cxn>
              <a:cxn ang="0">
                <a:pos x="connsiteX2" y="connsiteY2"/>
              </a:cxn>
              <a:cxn ang="0">
                <a:pos x="connsiteX3" y="connsiteY3"/>
              </a:cxn>
            </a:cxnLst>
            <a:rect l="l" t="t" r="r" b="b"/>
            <a:pathLst>
              <a:path w="6183975" h="2717206">
                <a:moveTo>
                  <a:pt x="2716336" y="0"/>
                </a:moveTo>
                <a:lnTo>
                  <a:pt x="6183975" y="0"/>
                </a:lnTo>
                <a:lnTo>
                  <a:pt x="3467639" y="2717206"/>
                </a:lnTo>
                <a:lnTo>
                  <a:pt x="0" y="2717206"/>
                </a:lnTo>
                <a:close/>
              </a:path>
            </a:pathLst>
          </a:custGeom>
        </p:spPr>
        <p:txBody>
          <a:bodyPr wrap="square">
            <a:noAutofit/>
          </a:bodyPr>
          <a:lstStyle/>
          <a:p>
            <a:endParaRPr lang="en-US"/>
          </a:p>
        </p:txBody>
      </p:sp>
      <p:sp>
        <p:nvSpPr>
          <p:cNvPr id="5" name="Parallelogram 4"/>
          <p:cNvSpPr/>
          <p:nvPr userDrawn="1"/>
        </p:nvSpPr>
        <p:spPr>
          <a:xfrm>
            <a:off x="2359377" y="2717206"/>
            <a:ext cx="7114823" cy="3649727"/>
          </a:xfrm>
          <a:prstGeom prst="parallelogram">
            <a:avLst>
              <a:gd name="adj" fmla="val 9996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p:cNvSpPr>
            <a:spLocks noGrp="1"/>
          </p:cNvSpPr>
          <p:nvPr>
            <p:ph type="title" hasCustomPrompt="1"/>
          </p:nvPr>
        </p:nvSpPr>
        <p:spPr>
          <a:xfrm>
            <a:off x="978667" y="896321"/>
            <a:ext cx="4304533" cy="2010165"/>
          </a:xfrm>
          <a:prstGeom prst="rect">
            <a:avLst/>
          </a:prstGeom>
        </p:spPr>
        <p:txBody>
          <a:bodyPr/>
          <a:lstStyle>
            <a:lvl1pPr>
              <a:lnSpc>
                <a:spcPct val="90000"/>
              </a:lnSpc>
              <a:defRPr sz="4000" b="0" spc="-150">
                <a:solidFill>
                  <a:schemeClr val="tx1">
                    <a:lumMod val="75000"/>
                    <a:lumOff val="25000"/>
                  </a:schemeClr>
                </a:solidFill>
                <a:latin typeface="Montserrat" panose="00000500000000000000" pitchFamily="50" charset="0"/>
              </a:defRPr>
            </a:lvl1pPr>
          </a:lstStyle>
          <a:p>
            <a:r>
              <a:rPr lang="en-US" dirty="0"/>
              <a:t>Your Creative Title Goes Here</a:t>
            </a:r>
            <a:endParaRPr lang="en-US" dirty="0"/>
          </a:p>
        </p:txBody>
      </p:sp>
      <p:sp>
        <p:nvSpPr>
          <p:cNvPr id="10" name="Picture Placeholder 9"/>
          <p:cNvSpPr>
            <a:spLocks noGrp="1"/>
          </p:cNvSpPr>
          <p:nvPr>
            <p:ph type="pic" sz="quarter" idx="11"/>
          </p:nvPr>
        </p:nvSpPr>
        <p:spPr>
          <a:xfrm>
            <a:off x="7501976" y="944187"/>
            <a:ext cx="8931825" cy="3924597"/>
          </a:xfrm>
          <a:custGeom>
            <a:avLst/>
            <a:gdLst>
              <a:gd name="connsiteX0" fmla="*/ 2716336 w 6183975"/>
              <a:gd name="connsiteY0" fmla="*/ 0 h 2717206"/>
              <a:gd name="connsiteX1" fmla="*/ 6183975 w 6183975"/>
              <a:gd name="connsiteY1" fmla="*/ 0 h 2717206"/>
              <a:gd name="connsiteX2" fmla="*/ 3467639 w 6183975"/>
              <a:gd name="connsiteY2" fmla="*/ 2717206 h 2717206"/>
              <a:gd name="connsiteX3" fmla="*/ 0 w 6183975"/>
              <a:gd name="connsiteY3" fmla="*/ 2717206 h 2717206"/>
            </a:gdLst>
            <a:ahLst/>
            <a:cxnLst>
              <a:cxn ang="0">
                <a:pos x="connsiteX0" y="connsiteY0"/>
              </a:cxn>
              <a:cxn ang="0">
                <a:pos x="connsiteX1" y="connsiteY1"/>
              </a:cxn>
              <a:cxn ang="0">
                <a:pos x="connsiteX2" y="connsiteY2"/>
              </a:cxn>
              <a:cxn ang="0">
                <a:pos x="connsiteX3" y="connsiteY3"/>
              </a:cxn>
            </a:cxnLst>
            <a:rect l="l" t="t" r="r" b="b"/>
            <a:pathLst>
              <a:path w="6183975" h="2717206">
                <a:moveTo>
                  <a:pt x="2716336" y="0"/>
                </a:moveTo>
                <a:lnTo>
                  <a:pt x="6183975" y="0"/>
                </a:lnTo>
                <a:lnTo>
                  <a:pt x="3467639" y="2717206"/>
                </a:lnTo>
                <a:lnTo>
                  <a:pt x="0" y="2717206"/>
                </a:lnTo>
                <a:close/>
              </a:path>
            </a:pathLst>
          </a:custGeom>
        </p:spPr>
        <p:txBody>
          <a:bodyPr wrap="square">
            <a:noAutofit/>
          </a:bodyPr>
          <a:lstStyle/>
          <a:p>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74742F3E-182A-4E42-99A7-A84D607325D2}" type="datetimeFigureOut">
              <a:rPr lang="zh-CN" altLang="en-US" smtClean="0"/>
            </a:fld>
            <a:endParaRPr lang="zh-CN" alt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21F91D6-B666-4B05-8BB0-A162590E5748}"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矩形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仅标题">
    <p:spTree>
      <p:nvGrpSpPr>
        <p:cNvPr id="1" name=""/>
        <p:cNvGrpSpPr/>
        <p:nvPr/>
      </p:nvGrpSpPr>
      <p:grpSpPr>
        <a:xfrm>
          <a:off x="0" y="0"/>
          <a:ext cx="0" cy="0"/>
          <a:chOff x="0" y="0"/>
          <a:chExt cx="0" cy="0"/>
        </a:xfrm>
      </p:grpSpPr>
      <p:sp>
        <p:nvSpPr>
          <p:cNvPr id="13" name="图片占位符 7"/>
          <p:cNvSpPr>
            <a:spLocks noGrp="1"/>
          </p:cNvSpPr>
          <p:nvPr>
            <p:ph type="pic" sz="quarter" idx="10"/>
          </p:nvPr>
        </p:nvSpPr>
        <p:spPr>
          <a:xfrm>
            <a:off x="956215" y="2224462"/>
            <a:ext cx="1940142" cy="2442000"/>
          </a:xfrm>
          <a:prstGeom prst="rect">
            <a:avLst/>
          </a:prstGeom>
        </p:spPr>
        <p:txBody>
          <a:bodyPr/>
          <a:lstStyle/>
          <a:p>
            <a:endParaRPr lang="zh-CN" altLang="en-US" dirty="0"/>
          </a:p>
        </p:txBody>
      </p:sp>
      <p:sp>
        <p:nvSpPr>
          <p:cNvPr id="14" name="图片占位符 7"/>
          <p:cNvSpPr>
            <a:spLocks noGrp="1"/>
          </p:cNvSpPr>
          <p:nvPr>
            <p:ph type="pic" sz="quarter" idx="11"/>
          </p:nvPr>
        </p:nvSpPr>
        <p:spPr>
          <a:xfrm>
            <a:off x="3048796" y="2224462"/>
            <a:ext cx="1940142" cy="2442000"/>
          </a:xfrm>
          <a:prstGeom prst="rect">
            <a:avLst/>
          </a:prstGeom>
        </p:spPr>
        <p:txBody>
          <a:bodyPr/>
          <a:lstStyle/>
          <a:p>
            <a:endParaRPr lang="zh-CN" altLang="en-US" dirty="0"/>
          </a:p>
        </p:txBody>
      </p:sp>
      <p:sp>
        <p:nvSpPr>
          <p:cNvPr id="15" name="图片占位符 7"/>
          <p:cNvSpPr>
            <a:spLocks noGrp="1"/>
          </p:cNvSpPr>
          <p:nvPr>
            <p:ph type="pic" sz="quarter" idx="12"/>
          </p:nvPr>
        </p:nvSpPr>
        <p:spPr>
          <a:xfrm>
            <a:off x="5141377" y="2224462"/>
            <a:ext cx="1940142" cy="2442000"/>
          </a:xfrm>
          <a:prstGeom prst="rect">
            <a:avLst/>
          </a:prstGeom>
        </p:spPr>
        <p:txBody>
          <a:bodyPr/>
          <a:lstStyle/>
          <a:p>
            <a:endParaRPr lang="zh-CN" altLang="en-US" dirty="0"/>
          </a:p>
        </p:txBody>
      </p:sp>
      <p:sp>
        <p:nvSpPr>
          <p:cNvPr id="16" name="图片占位符 7"/>
          <p:cNvSpPr>
            <a:spLocks noGrp="1"/>
          </p:cNvSpPr>
          <p:nvPr>
            <p:ph type="pic" sz="quarter" idx="13"/>
          </p:nvPr>
        </p:nvSpPr>
        <p:spPr>
          <a:xfrm>
            <a:off x="7233958" y="2224462"/>
            <a:ext cx="1940142" cy="2442000"/>
          </a:xfrm>
          <a:prstGeom prst="rect">
            <a:avLst/>
          </a:prstGeom>
        </p:spPr>
        <p:txBody>
          <a:bodyPr/>
          <a:lstStyle/>
          <a:p>
            <a:endParaRPr lang="zh-CN" altLang="en-US" dirty="0"/>
          </a:p>
        </p:txBody>
      </p:sp>
      <p:sp>
        <p:nvSpPr>
          <p:cNvPr id="17" name="图片占位符 7"/>
          <p:cNvSpPr>
            <a:spLocks noGrp="1"/>
          </p:cNvSpPr>
          <p:nvPr>
            <p:ph type="pic" sz="quarter" idx="14"/>
          </p:nvPr>
        </p:nvSpPr>
        <p:spPr>
          <a:xfrm>
            <a:off x="9326540" y="2224462"/>
            <a:ext cx="1940142" cy="2442000"/>
          </a:xfrm>
          <a:prstGeom prst="rect">
            <a:avLst/>
          </a:prstGeom>
        </p:spPr>
        <p:txBody>
          <a:bodyPr/>
          <a:lstStyle/>
          <a:p>
            <a:endParaRPr lang="zh-CN" alt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nodePh="1">
                                  <p:stCondLst>
                                    <p:cond delay="0"/>
                                  </p:stCondLst>
                                  <p:endCondLst>
                                    <p:cond evt="begin" delay="0">
                                      <p:tn val="11"/>
                                    </p:cond>
                                  </p:endCondLst>
                                  <p:childTnLst>
                                    <p:set>
                                      <p:cBhvr>
                                        <p:cTn id="12" dur="1" fill="hold">
                                          <p:stCondLst>
                                            <p:cond delay="0"/>
                                          </p:stCondLst>
                                        </p:cTn>
                                        <p:tgtEl>
                                          <p:spTgt spid="14"/>
                                        </p:tgtEl>
                                        <p:attrNameLst>
                                          <p:attrName>style.visibility</p:attrName>
                                        </p:attrNameLst>
                                      </p:cBhvr>
                                      <p:to>
                                        <p:strVal val="visible"/>
                                      </p:to>
                                    </p:set>
                                    <p:animEffect transition="in" filter="fade">
                                      <p:cBhvr>
                                        <p:cTn id="13" dur="1000"/>
                                        <p:tgtEl>
                                          <p:spTgt spid="14"/>
                                        </p:tgtEl>
                                      </p:cBhvr>
                                    </p:animEffect>
                                    <p:anim calcmode="lin" valueType="num">
                                      <p:cBhvr>
                                        <p:cTn id="14" dur="1000" fill="hold"/>
                                        <p:tgtEl>
                                          <p:spTgt spid="14"/>
                                        </p:tgtEl>
                                        <p:attrNameLst>
                                          <p:attrName>ppt_x</p:attrName>
                                        </p:attrNameLst>
                                      </p:cBhvr>
                                      <p:tavLst>
                                        <p:tav tm="0">
                                          <p:val>
                                            <p:strVal val="#ppt_x"/>
                                          </p:val>
                                        </p:tav>
                                        <p:tav tm="100000">
                                          <p:val>
                                            <p:strVal val="#ppt_x"/>
                                          </p:val>
                                        </p:tav>
                                      </p:tavLst>
                                    </p:anim>
                                    <p:anim calcmode="lin" valueType="num">
                                      <p:cBhvr>
                                        <p:cTn id="15" dur="1000" fill="hold"/>
                                        <p:tgtEl>
                                          <p:spTgt spid="14"/>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5"/>
                                        </p:tgtEl>
                                        <p:attrNameLst>
                                          <p:attrName>style.visibility</p:attrName>
                                        </p:attrNameLst>
                                      </p:cBhvr>
                                      <p:to>
                                        <p:strVal val="visible"/>
                                      </p:to>
                                    </p:set>
                                    <p:animEffect transition="in" filter="fade">
                                      <p:cBhvr>
                                        <p:cTn id="19" dur="1000"/>
                                        <p:tgtEl>
                                          <p:spTgt spid="15"/>
                                        </p:tgtEl>
                                      </p:cBhvr>
                                    </p:animEffect>
                                    <p:anim calcmode="lin" valueType="num">
                                      <p:cBhvr>
                                        <p:cTn id="20" dur="1000" fill="hold"/>
                                        <p:tgtEl>
                                          <p:spTgt spid="15"/>
                                        </p:tgtEl>
                                        <p:attrNameLst>
                                          <p:attrName>ppt_x</p:attrName>
                                        </p:attrNameLst>
                                      </p:cBhvr>
                                      <p:tavLst>
                                        <p:tav tm="0">
                                          <p:val>
                                            <p:strVal val="#ppt_x"/>
                                          </p:val>
                                        </p:tav>
                                        <p:tav tm="100000">
                                          <p:val>
                                            <p:strVal val="#ppt_x"/>
                                          </p:val>
                                        </p:tav>
                                      </p:tavLst>
                                    </p:anim>
                                    <p:anim calcmode="lin" valueType="num">
                                      <p:cBhvr>
                                        <p:cTn id="21" dur="1000" fill="hold"/>
                                        <p:tgtEl>
                                          <p:spTgt spid="15"/>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nodePh="1">
                                  <p:stCondLst>
                                    <p:cond delay="0"/>
                                  </p:stCondLst>
                                  <p:endCondLst>
                                    <p:cond evt="begin" delay="0">
                                      <p:tn val="23"/>
                                    </p:cond>
                                  </p:endCondLst>
                                  <p:childTnLst>
                                    <p:set>
                                      <p:cBhvr>
                                        <p:cTn id="24" dur="1" fill="hold">
                                          <p:stCondLst>
                                            <p:cond delay="0"/>
                                          </p:stCondLst>
                                        </p:cTn>
                                        <p:tgtEl>
                                          <p:spTgt spid="16"/>
                                        </p:tgtEl>
                                        <p:attrNameLst>
                                          <p:attrName>style.visibility</p:attrName>
                                        </p:attrNameLst>
                                      </p:cBhvr>
                                      <p:to>
                                        <p:strVal val="visible"/>
                                      </p:to>
                                    </p:set>
                                    <p:animEffect transition="in" filter="fade">
                                      <p:cBhvr>
                                        <p:cTn id="25" dur="1000"/>
                                        <p:tgtEl>
                                          <p:spTgt spid="16"/>
                                        </p:tgtEl>
                                      </p:cBhvr>
                                    </p:animEffect>
                                    <p:anim calcmode="lin" valueType="num">
                                      <p:cBhvr>
                                        <p:cTn id="26" dur="1000" fill="hold"/>
                                        <p:tgtEl>
                                          <p:spTgt spid="16"/>
                                        </p:tgtEl>
                                        <p:attrNameLst>
                                          <p:attrName>ppt_x</p:attrName>
                                        </p:attrNameLst>
                                      </p:cBhvr>
                                      <p:tavLst>
                                        <p:tav tm="0">
                                          <p:val>
                                            <p:strVal val="#ppt_x"/>
                                          </p:val>
                                        </p:tav>
                                        <p:tav tm="100000">
                                          <p:val>
                                            <p:strVal val="#ppt_x"/>
                                          </p:val>
                                        </p:tav>
                                      </p:tavLst>
                                    </p:anim>
                                    <p:anim calcmode="lin" valueType="num">
                                      <p:cBhvr>
                                        <p:cTn id="27" dur="1000" fill="hold"/>
                                        <p:tgtEl>
                                          <p:spTgt spid="16"/>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nodePh="1">
                                  <p:stCondLst>
                                    <p:cond delay="0"/>
                                  </p:stCondLst>
                                  <p:endCondLst>
                                    <p:cond evt="begin" delay="0">
                                      <p:tn val="29"/>
                                    </p:cond>
                                  </p:endCondLst>
                                  <p:childTnLst>
                                    <p:set>
                                      <p:cBhvr>
                                        <p:cTn id="30" dur="1" fill="hold">
                                          <p:stCondLst>
                                            <p:cond delay="0"/>
                                          </p:stCondLst>
                                        </p:cTn>
                                        <p:tgtEl>
                                          <p:spTgt spid="17"/>
                                        </p:tgtEl>
                                        <p:attrNameLst>
                                          <p:attrName>style.visibility</p:attrName>
                                        </p:attrNameLst>
                                      </p:cBhvr>
                                      <p:to>
                                        <p:strVal val="visible"/>
                                      </p:to>
                                    </p:set>
                                    <p:animEffect transition="in" filter="fade">
                                      <p:cBhvr>
                                        <p:cTn id="31" dur="1000"/>
                                        <p:tgtEl>
                                          <p:spTgt spid="17"/>
                                        </p:tgtEl>
                                      </p:cBhvr>
                                    </p:animEffect>
                                    <p:anim calcmode="lin" valueType="num">
                                      <p:cBhvr>
                                        <p:cTn id="32" dur="1000" fill="hold"/>
                                        <p:tgtEl>
                                          <p:spTgt spid="17"/>
                                        </p:tgtEl>
                                        <p:attrNameLst>
                                          <p:attrName>ppt_x</p:attrName>
                                        </p:attrNameLst>
                                      </p:cBhvr>
                                      <p:tavLst>
                                        <p:tav tm="0">
                                          <p:val>
                                            <p:strVal val="#ppt_x"/>
                                          </p:val>
                                        </p:tav>
                                        <p:tav tm="100000">
                                          <p:val>
                                            <p:strVal val="#ppt_x"/>
                                          </p:val>
                                        </p:tav>
                                      </p:tavLst>
                                    </p:anim>
                                    <p:anim calcmode="lin" valueType="num">
                                      <p:cBhvr>
                                        <p:cTn id="33"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p:bldP spid="17" grpId="0"/>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仅标题">
    <p:spTree>
      <p:nvGrpSpPr>
        <p:cNvPr id="1" name=""/>
        <p:cNvGrpSpPr/>
        <p:nvPr/>
      </p:nvGrpSpPr>
      <p:grpSpPr>
        <a:xfrm>
          <a:off x="0" y="0"/>
          <a:ext cx="0" cy="0"/>
          <a:chOff x="0" y="0"/>
          <a:chExt cx="0" cy="0"/>
        </a:xfrm>
      </p:grpSpPr>
      <p:sp>
        <p:nvSpPr>
          <p:cNvPr id="9" name="图片占位符 7"/>
          <p:cNvSpPr>
            <a:spLocks noGrp="1"/>
          </p:cNvSpPr>
          <p:nvPr>
            <p:ph type="pic" sz="quarter" idx="10"/>
          </p:nvPr>
        </p:nvSpPr>
        <p:spPr>
          <a:xfrm>
            <a:off x="0" y="1390650"/>
            <a:ext cx="5962650" cy="5048250"/>
          </a:xfrm>
          <a:prstGeom prst="rect">
            <a:avLst/>
          </a:prstGeom>
        </p:spPr>
        <p:txBody>
          <a:bodyPr/>
          <a:lstStyle/>
          <a:p>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2000" advClick="0" advTm="5000"/>
    </mc:Choice>
    <mc:Fallback>
      <p:transition spd="slow" advClick="0" advTm="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nodePh="1">
                                  <p:stCondLst>
                                    <p:cond delay="0"/>
                                  </p:stCondLst>
                                  <p:endCondLst>
                                    <p:cond evt="begin" delay="0">
                                      <p:tn val="5"/>
                                    </p:cond>
                                  </p:end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5_空白">
    <p:bg>
      <p:bgPr>
        <a:solidFill>
          <a:schemeClr val="accent2"/>
        </a:solidFill>
        <a:effectLst/>
      </p:bgPr>
    </p:bg>
    <p:spTree>
      <p:nvGrpSpPr>
        <p:cNvPr id="1" name=""/>
        <p:cNvGrpSpPr/>
        <p:nvPr/>
      </p:nvGrpSpPr>
      <p:grpSpPr>
        <a:xfrm>
          <a:off x="0" y="0"/>
          <a:ext cx="0" cy="0"/>
          <a:chOff x="0" y="0"/>
          <a:chExt cx="0" cy="0"/>
        </a:xfrm>
      </p:grpSpPr>
      <p:sp>
        <p:nvSpPr>
          <p:cNvPr id="2" name="矩形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3" name="组合 2"/>
          <p:cNvGrpSpPr>
            <a:grpSpLocks noChangeAspect="1"/>
          </p:cNvGrpSpPr>
          <p:nvPr userDrawn="1"/>
        </p:nvGrpSpPr>
        <p:grpSpPr>
          <a:xfrm rot="20922879">
            <a:off x="-10977256" y="2921000"/>
            <a:ext cx="34146511" cy="1692000"/>
            <a:chOff x="-14398214" y="3038266"/>
            <a:chExt cx="46526994" cy="2305468"/>
          </a:xfrm>
        </p:grpSpPr>
        <p:grpSp>
          <p:nvGrpSpPr>
            <p:cNvPr id="4" name="组合 3"/>
            <p:cNvGrpSpPr/>
            <p:nvPr/>
          </p:nvGrpSpPr>
          <p:grpSpPr>
            <a:xfrm>
              <a:off x="-14398214" y="3038266"/>
              <a:ext cx="28692135" cy="781468"/>
              <a:chOff x="-14398214" y="3038266"/>
              <a:chExt cx="28692135" cy="781468"/>
            </a:xfrm>
          </p:grpSpPr>
          <p:sp>
            <p:nvSpPr>
              <p:cNvPr id="25" name="矩形 24"/>
              <p:cNvSpPr/>
              <p:nvPr/>
            </p:nvSpPr>
            <p:spPr>
              <a:xfrm rot="2995625">
                <a:off x="-4764589"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6" name="矩形 25"/>
              <p:cNvSpPr/>
              <p:nvPr/>
            </p:nvSpPr>
            <p:spPr>
              <a:xfrm rot="2995625">
                <a:off x="-3684162"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7" name="矩形 26"/>
              <p:cNvSpPr/>
              <p:nvPr/>
            </p:nvSpPr>
            <p:spPr>
              <a:xfrm rot="2995625">
                <a:off x="-2603735"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8" name="矩形 27"/>
              <p:cNvSpPr/>
              <p:nvPr/>
            </p:nvSpPr>
            <p:spPr>
              <a:xfrm rot="2995625">
                <a:off x="-1523308" y="-6595359"/>
                <a:ext cx="781468" cy="200487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9" name="矩形 28"/>
              <p:cNvSpPr/>
              <p:nvPr/>
            </p:nvSpPr>
            <p:spPr>
              <a:xfrm rot="2995625">
                <a:off x="-442881" y="-6595359"/>
                <a:ext cx="781468" cy="20048718"/>
              </a:xfrm>
              <a:prstGeom prst="rect">
                <a:avLst/>
              </a:prstGeom>
              <a:solidFill>
                <a:srgbClr val="D6C9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0" name="矩形 29"/>
              <p:cNvSpPr/>
              <p:nvPr/>
            </p:nvSpPr>
            <p:spPr>
              <a:xfrm rot="2995625">
                <a:off x="637546" y="-6595359"/>
                <a:ext cx="781468" cy="200487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1" name="矩形 30"/>
              <p:cNvSpPr/>
              <p:nvPr/>
            </p:nvSpPr>
            <p:spPr>
              <a:xfrm rot="2995625">
                <a:off x="1717973" y="-6595359"/>
                <a:ext cx="781468" cy="20048718"/>
              </a:xfrm>
              <a:prstGeom prst="rect">
                <a:avLst/>
              </a:prstGeom>
              <a:solidFill>
                <a:srgbClr val="FDF4A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2" name="矩形 31"/>
              <p:cNvSpPr/>
              <p:nvPr/>
            </p:nvSpPr>
            <p:spPr>
              <a:xfrm rot="2995625">
                <a:off x="2798400"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3" name="矩形 32"/>
              <p:cNvSpPr/>
              <p:nvPr/>
            </p:nvSpPr>
            <p:spPr>
              <a:xfrm rot="2995625">
                <a:off x="3878828" y="-6595359"/>
                <a:ext cx="781468" cy="20048718"/>
              </a:xfrm>
              <a:prstGeom prst="rect">
                <a:avLst/>
              </a:prstGeom>
              <a:solidFill>
                <a:srgbClr val="FDEF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5" name="组合 4"/>
            <p:cNvGrpSpPr/>
            <p:nvPr/>
          </p:nvGrpSpPr>
          <p:grpSpPr>
            <a:xfrm>
              <a:off x="-4530314" y="3038266"/>
              <a:ext cx="28692135" cy="781468"/>
              <a:chOff x="-14398214" y="3038266"/>
              <a:chExt cx="28692135" cy="781468"/>
            </a:xfrm>
          </p:grpSpPr>
          <p:sp>
            <p:nvSpPr>
              <p:cNvPr id="16" name="矩形 15"/>
              <p:cNvSpPr/>
              <p:nvPr/>
            </p:nvSpPr>
            <p:spPr>
              <a:xfrm rot="2995625">
                <a:off x="-4764589"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16"/>
              <p:cNvSpPr/>
              <p:nvPr/>
            </p:nvSpPr>
            <p:spPr>
              <a:xfrm rot="2995625">
                <a:off x="-3684162"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8" name="矩形 17"/>
              <p:cNvSpPr/>
              <p:nvPr/>
            </p:nvSpPr>
            <p:spPr>
              <a:xfrm rot="2995625">
                <a:off x="-2603735"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9" name="矩形 18"/>
              <p:cNvSpPr/>
              <p:nvPr/>
            </p:nvSpPr>
            <p:spPr>
              <a:xfrm rot="2995625">
                <a:off x="-1523308" y="-6595359"/>
                <a:ext cx="781468" cy="200487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0" name="矩形 19"/>
              <p:cNvSpPr/>
              <p:nvPr/>
            </p:nvSpPr>
            <p:spPr>
              <a:xfrm rot="2995625">
                <a:off x="-442881" y="-6595359"/>
                <a:ext cx="781468" cy="20048718"/>
              </a:xfrm>
              <a:prstGeom prst="rect">
                <a:avLst/>
              </a:prstGeom>
              <a:solidFill>
                <a:srgbClr val="D6C9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1" name="矩形 20"/>
              <p:cNvSpPr/>
              <p:nvPr/>
            </p:nvSpPr>
            <p:spPr>
              <a:xfrm rot="2995625">
                <a:off x="637546" y="-6595359"/>
                <a:ext cx="781468" cy="200487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2" name="矩形 21"/>
              <p:cNvSpPr/>
              <p:nvPr/>
            </p:nvSpPr>
            <p:spPr>
              <a:xfrm rot="2995625">
                <a:off x="1717973" y="-6595359"/>
                <a:ext cx="781468" cy="20048718"/>
              </a:xfrm>
              <a:prstGeom prst="rect">
                <a:avLst/>
              </a:prstGeom>
              <a:solidFill>
                <a:srgbClr val="FDF4A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3" name="矩形 22"/>
              <p:cNvSpPr/>
              <p:nvPr/>
            </p:nvSpPr>
            <p:spPr>
              <a:xfrm rot="2995625">
                <a:off x="2798400"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4" name="矩形 23"/>
              <p:cNvSpPr/>
              <p:nvPr/>
            </p:nvSpPr>
            <p:spPr>
              <a:xfrm rot="2995625">
                <a:off x="3878828" y="-6595359"/>
                <a:ext cx="781468" cy="20048718"/>
              </a:xfrm>
              <a:prstGeom prst="rect">
                <a:avLst/>
              </a:prstGeom>
              <a:solidFill>
                <a:srgbClr val="FDEF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6" name="组合 5"/>
            <p:cNvGrpSpPr/>
            <p:nvPr/>
          </p:nvGrpSpPr>
          <p:grpSpPr>
            <a:xfrm>
              <a:off x="3436645" y="4562266"/>
              <a:ext cx="28692135" cy="781468"/>
              <a:chOff x="-14398214" y="3038266"/>
              <a:chExt cx="28692135" cy="781468"/>
            </a:xfrm>
          </p:grpSpPr>
          <p:sp>
            <p:nvSpPr>
              <p:cNvPr id="7" name="矩形 6"/>
              <p:cNvSpPr/>
              <p:nvPr/>
            </p:nvSpPr>
            <p:spPr>
              <a:xfrm rot="2995625">
                <a:off x="-4764589"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8" name="矩形 7"/>
              <p:cNvSpPr/>
              <p:nvPr/>
            </p:nvSpPr>
            <p:spPr>
              <a:xfrm rot="2995625">
                <a:off x="-3684162"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2995625">
                <a:off x="-2603735"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0" name="矩形 9"/>
              <p:cNvSpPr/>
              <p:nvPr/>
            </p:nvSpPr>
            <p:spPr>
              <a:xfrm rot="2995625">
                <a:off x="-1523308" y="-6595359"/>
                <a:ext cx="781468" cy="200487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2995625">
                <a:off x="-442881" y="-6595359"/>
                <a:ext cx="781468" cy="20048718"/>
              </a:xfrm>
              <a:prstGeom prst="rect">
                <a:avLst/>
              </a:prstGeom>
              <a:solidFill>
                <a:srgbClr val="D6C9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2995625">
                <a:off x="637546" y="-6595359"/>
                <a:ext cx="781468" cy="200487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矩形 12"/>
              <p:cNvSpPr/>
              <p:nvPr/>
            </p:nvSpPr>
            <p:spPr>
              <a:xfrm rot="2995625">
                <a:off x="1717973" y="-6595359"/>
                <a:ext cx="781468" cy="20048718"/>
              </a:xfrm>
              <a:prstGeom prst="rect">
                <a:avLst/>
              </a:prstGeom>
              <a:solidFill>
                <a:srgbClr val="FDF4A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4" name="矩形 13"/>
              <p:cNvSpPr/>
              <p:nvPr/>
            </p:nvSpPr>
            <p:spPr>
              <a:xfrm rot="2995625">
                <a:off x="2798400"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5" name="矩形 14"/>
              <p:cNvSpPr/>
              <p:nvPr/>
            </p:nvSpPr>
            <p:spPr>
              <a:xfrm rot="2995625">
                <a:off x="3878828" y="-6595359"/>
                <a:ext cx="781468" cy="20048718"/>
              </a:xfrm>
              <a:prstGeom prst="rect">
                <a:avLst/>
              </a:prstGeom>
              <a:solidFill>
                <a:srgbClr val="FDEF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sp>
        <p:nvSpPr>
          <p:cNvPr id="37" name="任意多边形: 形状 36"/>
          <p:cNvSpPr/>
          <p:nvPr userDrawn="1"/>
        </p:nvSpPr>
        <p:spPr>
          <a:xfrm>
            <a:off x="-20015198" y="-11277598"/>
            <a:ext cx="58724798" cy="29159199"/>
          </a:xfrm>
          <a:custGeom>
            <a:avLst/>
            <a:gdLst>
              <a:gd name="connsiteX0" fmla="*/ 20015199 w 58724798"/>
              <a:gd name="connsiteY0" fmla="*/ 11277599 h 29159199"/>
              <a:gd name="connsiteX1" fmla="*/ 20015199 w 58724798"/>
              <a:gd name="connsiteY1" fmla="*/ 18135599 h 29159199"/>
              <a:gd name="connsiteX2" fmla="*/ 32207198 w 58724798"/>
              <a:gd name="connsiteY2" fmla="*/ 18135599 h 29159199"/>
              <a:gd name="connsiteX3" fmla="*/ 32207198 w 58724798"/>
              <a:gd name="connsiteY3" fmla="*/ 11277599 h 29159199"/>
              <a:gd name="connsiteX4" fmla="*/ 0 w 58724798"/>
              <a:gd name="connsiteY4" fmla="*/ 0 h 29159199"/>
              <a:gd name="connsiteX5" fmla="*/ 58724798 w 58724798"/>
              <a:gd name="connsiteY5" fmla="*/ 0 h 29159199"/>
              <a:gd name="connsiteX6" fmla="*/ 58724798 w 58724798"/>
              <a:gd name="connsiteY6" fmla="*/ 29159199 h 29159199"/>
              <a:gd name="connsiteX7" fmla="*/ 0 w 58724798"/>
              <a:gd name="connsiteY7" fmla="*/ 29159199 h 2915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24798" h="29159199">
                <a:moveTo>
                  <a:pt x="20015199" y="11277599"/>
                </a:moveTo>
                <a:lnTo>
                  <a:pt x="20015199" y="18135599"/>
                </a:lnTo>
                <a:lnTo>
                  <a:pt x="32207198" y="18135599"/>
                </a:lnTo>
                <a:lnTo>
                  <a:pt x="32207198" y="11277599"/>
                </a:lnTo>
                <a:close/>
                <a:moveTo>
                  <a:pt x="0" y="0"/>
                </a:moveTo>
                <a:lnTo>
                  <a:pt x="58724798" y="0"/>
                </a:lnTo>
                <a:lnTo>
                  <a:pt x="58724798" y="29159199"/>
                </a:lnTo>
                <a:lnTo>
                  <a:pt x="0" y="2915919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9" name="矩形 38"/>
          <p:cNvSpPr/>
          <p:nvPr userDrawn="1"/>
        </p:nvSpPr>
        <p:spPr>
          <a:xfrm>
            <a:off x="0" y="0"/>
            <a:ext cx="12192000" cy="68580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空白">
    <p:spTree>
      <p:nvGrpSpPr>
        <p:cNvPr id="1" name=""/>
        <p:cNvGrpSpPr/>
        <p:nvPr/>
      </p:nvGrpSpPr>
      <p:grpSpPr>
        <a:xfrm>
          <a:off x="0" y="0"/>
          <a:ext cx="0" cy="0"/>
          <a:chOff x="0" y="0"/>
          <a:chExt cx="0" cy="0"/>
        </a:xfrm>
      </p:grpSpPr>
      <p:sp>
        <p:nvSpPr>
          <p:cNvPr id="2" name="矩形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3" name="组合 2"/>
          <p:cNvGrpSpPr>
            <a:grpSpLocks noChangeAspect="1"/>
          </p:cNvGrpSpPr>
          <p:nvPr userDrawn="1"/>
        </p:nvGrpSpPr>
        <p:grpSpPr>
          <a:xfrm rot="20922879">
            <a:off x="-10977256" y="2921000"/>
            <a:ext cx="34146511" cy="1692000"/>
            <a:chOff x="-14398214" y="3038266"/>
            <a:chExt cx="46526994" cy="2305468"/>
          </a:xfrm>
        </p:grpSpPr>
        <p:grpSp>
          <p:nvGrpSpPr>
            <p:cNvPr id="4" name="组合 3"/>
            <p:cNvGrpSpPr/>
            <p:nvPr/>
          </p:nvGrpSpPr>
          <p:grpSpPr>
            <a:xfrm>
              <a:off x="-14398214" y="3038266"/>
              <a:ext cx="28692135" cy="781468"/>
              <a:chOff x="-14398214" y="3038266"/>
              <a:chExt cx="28692135" cy="781468"/>
            </a:xfrm>
          </p:grpSpPr>
          <p:sp>
            <p:nvSpPr>
              <p:cNvPr id="25" name="矩形 24"/>
              <p:cNvSpPr/>
              <p:nvPr/>
            </p:nvSpPr>
            <p:spPr>
              <a:xfrm rot="2995625">
                <a:off x="-4764589"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6" name="矩形 25"/>
              <p:cNvSpPr/>
              <p:nvPr/>
            </p:nvSpPr>
            <p:spPr>
              <a:xfrm rot="2995625">
                <a:off x="-3684162"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7" name="矩形 26"/>
              <p:cNvSpPr/>
              <p:nvPr/>
            </p:nvSpPr>
            <p:spPr>
              <a:xfrm rot="2995625">
                <a:off x="-2603735"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8" name="矩形 27"/>
              <p:cNvSpPr/>
              <p:nvPr/>
            </p:nvSpPr>
            <p:spPr>
              <a:xfrm rot="2995625">
                <a:off x="-1523308" y="-6595359"/>
                <a:ext cx="781468" cy="200487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9" name="矩形 28"/>
              <p:cNvSpPr/>
              <p:nvPr/>
            </p:nvSpPr>
            <p:spPr>
              <a:xfrm rot="2995625">
                <a:off x="-442881" y="-6595359"/>
                <a:ext cx="781468" cy="20048718"/>
              </a:xfrm>
              <a:prstGeom prst="rect">
                <a:avLst/>
              </a:prstGeom>
              <a:solidFill>
                <a:srgbClr val="D6C9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0" name="矩形 29"/>
              <p:cNvSpPr/>
              <p:nvPr/>
            </p:nvSpPr>
            <p:spPr>
              <a:xfrm rot="2995625">
                <a:off x="637546" y="-6595359"/>
                <a:ext cx="781468" cy="200487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1" name="矩形 30"/>
              <p:cNvSpPr/>
              <p:nvPr/>
            </p:nvSpPr>
            <p:spPr>
              <a:xfrm rot="2995625">
                <a:off x="1717973" y="-6595359"/>
                <a:ext cx="781468" cy="20048718"/>
              </a:xfrm>
              <a:prstGeom prst="rect">
                <a:avLst/>
              </a:prstGeom>
              <a:solidFill>
                <a:srgbClr val="FDF4A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2" name="矩形 31"/>
              <p:cNvSpPr/>
              <p:nvPr/>
            </p:nvSpPr>
            <p:spPr>
              <a:xfrm rot="2995625">
                <a:off x="2798400"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3" name="矩形 32"/>
              <p:cNvSpPr/>
              <p:nvPr/>
            </p:nvSpPr>
            <p:spPr>
              <a:xfrm rot="2995625">
                <a:off x="3878828" y="-6595359"/>
                <a:ext cx="781468" cy="20048718"/>
              </a:xfrm>
              <a:prstGeom prst="rect">
                <a:avLst/>
              </a:prstGeom>
              <a:solidFill>
                <a:srgbClr val="FDEF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5" name="组合 4"/>
            <p:cNvGrpSpPr/>
            <p:nvPr/>
          </p:nvGrpSpPr>
          <p:grpSpPr>
            <a:xfrm>
              <a:off x="-4530314" y="3038266"/>
              <a:ext cx="28692135" cy="781468"/>
              <a:chOff x="-14398214" y="3038266"/>
              <a:chExt cx="28692135" cy="781468"/>
            </a:xfrm>
          </p:grpSpPr>
          <p:sp>
            <p:nvSpPr>
              <p:cNvPr id="16" name="矩形 15"/>
              <p:cNvSpPr/>
              <p:nvPr/>
            </p:nvSpPr>
            <p:spPr>
              <a:xfrm rot="2995625">
                <a:off x="-4764589"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16"/>
              <p:cNvSpPr/>
              <p:nvPr/>
            </p:nvSpPr>
            <p:spPr>
              <a:xfrm rot="2995625">
                <a:off x="-3684162"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8" name="矩形 17"/>
              <p:cNvSpPr/>
              <p:nvPr/>
            </p:nvSpPr>
            <p:spPr>
              <a:xfrm rot="2995625">
                <a:off x="-2603735"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9" name="矩形 18"/>
              <p:cNvSpPr/>
              <p:nvPr/>
            </p:nvSpPr>
            <p:spPr>
              <a:xfrm rot="2995625">
                <a:off x="-1523308" y="-6595359"/>
                <a:ext cx="781468" cy="200487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0" name="矩形 19"/>
              <p:cNvSpPr/>
              <p:nvPr/>
            </p:nvSpPr>
            <p:spPr>
              <a:xfrm rot="2995625">
                <a:off x="-442881" y="-6595359"/>
                <a:ext cx="781468" cy="20048718"/>
              </a:xfrm>
              <a:prstGeom prst="rect">
                <a:avLst/>
              </a:prstGeom>
              <a:solidFill>
                <a:srgbClr val="D6C9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1" name="矩形 20"/>
              <p:cNvSpPr/>
              <p:nvPr/>
            </p:nvSpPr>
            <p:spPr>
              <a:xfrm rot="2995625">
                <a:off x="637546" y="-6595359"/>
                <a:ext cx="781468" cy="200487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2" name="矩形 21"/>
              <p:cNvSpPr/>
              <p:nvPr/>
            </p:nvSpPr>
            <p:spPr>
              <a:xfrm rot="2995625">
                <a:off x="1717973" y="-6595359"/>
                <a:ext cx="781468" cy="20048718"/>
              </a:xfrm>
              <a:prstGeom prst="rect">
                <a:avLst/>
              </a:prstGeom>
              <a:solidFill>
                <a:srgbClr val="FDF4A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3" name="矩形 22"/>
              <p:cNvSpPr/>
              <p:nvPr/>
            </p:nvSpPr>
            <p:spPr>
              <a:xfrm rot="2995625">
                <a:off x="2798400"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4" name="矩形 23"/>
              <p:cNvSpPr/>
              <p:nvPr/>
            </p:nvSpPr>
            <p:spPr>
              <a:xfrm rot="2995625">
                <a:off x="3878828" y="-6595359"/>
                <a:ext cx="781468" cy="20048718"/>
              </a:xfrm>
              <a:prstGeom prst="rect">
                <a:avLst/>
              </a:prstGeom>
              <a:solidFill>
                <a:srgbClr val="FDEF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6" name="组合 5"/>
            <p:cNvGrpSpPr/>
            <p:nvPr/>
          </p:nvGrpSpPr>
          <p:grpSpPr>
            <a:xfrm>
              <a:off x="3436645" y="4562266"/>
              <a:ext cx="28692135" cy="781468"/>
              <a:chOff x="-14398214" y="3038266"/>
              <a:chExt cx="28692135" cy="781468"/>
            </a:xfrm>
          </p:grpSpPr>
          <p:sp>
            <p:nvSpPr>
              <p:cNvPr id="7" name="矩形 6"/>
              <p:cNvSpPr/>
              <p:nvPr/>
            </p:nvSpPr>
            <p:spPr>
              <a:xfrm rot="2995625">
                <a:off x="-4764589"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8" name="矩形 7"/>
              <p:cNvSpPr/>
              <p:nvPr/>
            </p:nvSpPr>
            <p:spPr>
              <a:xfrm rot="2995625">
                <a:off x="-3684162"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2995625">
                <a:off x="-2603735" y="-6595359"/>
                <a:ext cx="781468" cy="20048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0" name="矩形 9"/>
              <p:cNvSpPr/>
              <p:nvPr/>
            </p:nvSpPr>
            <p:spPr>
              <a:xfrm rot="2995625">
                <a:off x="-1523308" y="-6595359"/>
                <a:ext cx="781468" cy="200487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2995625">
                <a:off x="-442881" y="-6595359"/>
                <a:ext cx="781468" cy="20048718"/>
              </a:xfrm>
              <a:prstGeom prst="rect">
                <a:avLst/>
              </a:prstGeom>
              <a:solidFill>
                <a:srgbClr val="D6C9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2995625">
                <a:off x="637546" y="-6595359"/>
                <a:ext cx="781468" cy="200487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矩形 12"/>
              <p:cNvSpPr/>
              <p:nvPr/>
            </p:nvSpPr>
            <p:spPr>
              <a:xfrm rot="2995625">
                <a:off x="1717973" y="-6595359"/>
                <a:ext cx="781468" cy="20048718"/>
              </a:xfrm>
              <a:prstGeom prst="rect">
                <a:avLst/>
              </a:prstGeom>
              <a:solidFill>
                <a:srgbClr val="FDF4A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4" name="矩形 13"/>
              <p:cNvSpPr/>
              <p:nvPr/>
            </p:nvSpPr>
            <p:spPr>
              <a:xfrm rot="2995625">
                <a:off x="2798400" y="-6595359"/>
                <a:ext cx="781468" cy="20048718"/>
              </a:xfrm>
              <a:prstGeom prst="rect">
                <a:avLst/>
              </a:prstGeom>
              <a:solidFill>
                <a:srgbClr val="FDC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5" name="矩形 14"/>
              <p:cNvSpPr/>
              <p:nvPr/>
            </p:nvSpPr>
            <p:spPr>
              <a:xfrm rot="2995625">
                <a:off x="3878828" y="-6595359"/>
                <a:ext cx="781468" cy="20048718"/>
              </a:xfrm>
              <a:prstGeom prst="rect">
                <a:avLst/>
              </a:prstGeom>
              <a:solidFill>
                <a:srgbClr val="FDEF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sp>
        <p:nvSpPr>
          <p:cNvPr id="37" name="任意多边形: 形状 36"/>
          <p:cNvSpPr/>
          <p:nvPr userDrawn="1"/>
        </p:nvSpPr>
        <p:spPr>
          <a:xfrm>
            <a:off x="-20015198" y="-11277598"/>
            <a:ext cx="58724798" cy="29159199"/>
          </a:xfrm>
          <a:custGeom>
            <a:avLst/>
            <a:gdLst>
              <a:gd name="connsiteX0" fmla="*/ 20015199 w 58724798"/>
              <a:gd name="connsiteY0" fmla="*/ 11277599 h 29159199"/>
              <a:gd name="connsiteX1" fmla="*/ 20015199 w 58724798"/>
              <a:gd name="connsiteY1" fmla="*/ 18135599 h 29159199"/>
              <a:gd name="connsiteX2" fmla="*/ 32207198 w 58724798"/>
              <a:gd name="connsiteY2" fmla="*/ 18135599 h 29159199"/>
              <a:gd name="connsiteX3" fmla="*/ 32207198 w 58724798"/>
              <a:gd name="connsiteY3" fmla="*/ 11277599 h 29159199"/>
              <a:gd name="connsiteX4" fmla="*/ 0 w 58724798"/>
              <a:gd name="connsiteY4" fmla="*/ 0 h 29159199"/>
              <a:gd name="connsiteX5" fmla="*/ 58724798 w 58724798"/>
              <a:gd name="connsiteY5" fmla="*/ 0 h 29159199"/>
              <a:gd name="connsiteX6" fmla="*/ 58724798 w 58724798"/>
              <a:gd name="connsiteY6" fmla="*/ 29159199 h 29159199"/>
              <a:gd name="connsiteX7" fmla="*/ 0 w 58724798"/>
              <a:gd name="connsiteY7" fmla="*/ 29159199 h 2915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24798" h="29159199">
                <a:moveTo>
                  <a:pt x="20015199" y="11277599"/>
                </a:moveTo>
                <a:lnTo>
                  <a:pt x="20015199" y="18135599"/>
                </a:lnTo>
                <a:lnTo>
                  <a:pt x="32207198" y="18135599"/>
                </a:lnTo>
                <a:lnTo>
                  <a:pt x="32207198" y="11277599"/>
                </a:lnTo>
                <a:close/>
                <a:moveTo>
                  <a:pt x="0" y="0"/>
                </a:moveTo>
                <a:lnTo>
                  <a:pt x="58724798" y="0"/>
                </a:lnTo>
                <a:lnTo>
                  <a:pt x="58724798" y="29159199"/>
                </a:lnTo>
                <a:lnTo>
                  <a:pt x="0" y="2915919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9" name="矩形 38"/>
          <p:cNvSpPr/>
          <p:nvPr userDrawn="1"/>
        </p:nvSpPr>
        <p:spPr>
          <a:xfrm>
            <a:off x="0" y="0"/>
            <a:ext cx="12192000" cy="68580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0" name="图片占位符 34"/>
          <p:cNvSpPr>
            <a:spLocks noGrp="1"/>
          </p:cNvSpPr>
          <p:nvPr>
            <p:ph type="pic" sz="quarter" idx="10"/>
          </p:nvPr>
        </p:nvSpPr>
        <p:spPr>
          <a:xfrm>
            <a:off x="296863" y="384175"/>
            <a:ext cx="5878512" cy="6134100"/>
          </a:xfrm>
          <a:prstGeom prst="rect">
            <a:avLst/>
          </a:prstGeom>
          <a:solidFill>
            <a:schemeClr val="bg1"/>
          </a:solidFill>
        </p:spPr>
        <p:txBody>
          <a:bodyPr/>
          <a:lstStyle/>
          <a:p>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矩形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sp>
        <p:nvSpPr>
          <p:cNvPr id="3" name="图片占位符 2"/>
          <p:cNvSpPr>
            <a:spLocks noGrp="1"/>
          </p:cNvSpPr>
          <p:nvPr>
            <p:ph type="pic" sz="quarter" idx="10"/>
          </p:nvPr>
        </p:nvSpPr>
        <p:spPr>
          <a:xfrm>
            <a:off x="0" y="0"/>
            <a:ext cx="12192000" cy="6858000"/>
          </a:xfrm>
          <a:prstGeom prst="rect">
            <a:avLst/>
          </a:prstGeom>
        </p:spPr>
        <p:txBody>
          <a:bodyPr/>
          <a:lstStyle/>
          <a:p>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4" name="Picture Placeholder 7"/>
          <p:cNvSpPr>
            <a:spLocks noGrp="1"/>
          </p:cNvSpPr>
          <p:nvPr>
            <p:ph type="pic" sz="quarter" idx="18" hasCustomPrompt="1"/>
          </p:nvPr>
        </p:nvSpPr>
        <p:spPr>
          <a:xfrm>
            <a:off x="8091054" y="0"/>
            <a:ext cx="4100945" cy="6858000"/>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6" name="Picture Placeholder 7"/>
          <p:cNvSpPr>
            <a:spLocks noGrp="1"/>
          </p:cNvSpPr>
          <p:nvPr>
            <p:ph type="pic" sz="quarter" idx="18" hasCustomPrompt="1"/>
          </p:nvPr>
        </p:nvSpPr>
        <p:spPr>
          <a:xfrm>
            <a:off x="1759526" y="1385454"/>
            <a:ext cx="4087091" cy="4087091"/>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
        <p:nvSpPr>
          <p:cNvPr id="7" name="Picture Placeholder 7"/>
          <p:cNvSpPr>
            <a:spLocks noGrp="1"/>
          </p:cNvSpPr>
          <p:nvPr>
            <p:ph type="pic" sz="quarter" idx="19" hasCustomPrompt="1"/>
          </p:nvPr>
        </p:nvSpPr>
        <p:spPr>
          <a:xfrm>
            <a:off x="6345382" y="1385454"/>
            <a:ext cx="4087091" cy="4087091"/>
          </a:xfrm>
          <a:prstGeom prst="rect">
            <a:avLst/>
          </a:prstGeom>
          <a:pattFill prst="wdDnDiag">
            <a:fgClr>
              <a:schemeClr val="accent1">
                <a:lumMod val="20000"/>
                <a:lumOff val="80000"/>
              </a:schemeClr>
            </a:fgClr>
            <a:bgClr>
              <a:schemeClr val="bg1"/>
            </a:bgClr>
          </a:patt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zh-CN" altLang="en-US" dirty="0"/>
              <a:t>点击替换图片</a:t>
            </a:r>
            <a:endParaRPr lang="id-ID"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2" Type="http://schemas.openxmlformats.org/officeDocument/2006/relationships/theme" Target="../theme/theme1.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矩形 1"/>
          <p:cNvSpPr/>
          <p:nvPr userDrawn="1"/>
        </p:nvSpPr>
        <p:spPr>
          <a:xfrm>
            <a:off x="588705" y="389547"/>
            <a:ext cx="471949" cy="4719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 name="矩形 2"/>
          <p:cNvSpPr/>
          <p:nvPr userDrawn="1"/>
        </p:nvSpPr>
        <p:spPr>
          <a:xfrm flipV="1">
            <a:off x="0" y="6488668"/>
            <a:ext cx="12192000" cy="369332"/>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文本框 3"/>
          <p:cNvSpPr txBox="1"/>
          <p:nvPr userDrawn="1"/>
        </p:nvSpPr>
        <p:spPr>
          <a:xfrm>
            <a:off x="1296628" y="307498"/>
            <a:ext cx="3570339" cy="461665"/>
          </a:xfrm>
          <a:prstGeom prst="rect">
            <a:avLst/>
          </a:prstGeom>
          <a:noFill/>
        </p:spPr>
        <p:txBody>
          <a:bodyPr wrap="square" rtlCol="0">
            <a:spAutoFit/>
          </a:bodyPr>
          <a:lstStyle/>
          <a:p>
            <a:r>
              <a:rPr lang="zh-CN" altLang="en-US" sz="2400" dirty="0">
                <a:latin typeface="思源黑体" panose="020B0400000000000000" pitchFamily="34" charset="-122"/>
                <a:ea typeface="思源黑体" panose="020B0400000000000000" pitchFamily="34" charset="-122"/>
                <a:sym typeface="思源黑体" panose="020B0400000000000000" pitchFamily="34" charset="-122"/>
              </a:rPr>
              <a:t>章节标题内容</a:t>
            </a:r>
            <a:r>
              <a:rPr lang="en-US" altLang="zh-CN" sz="2400" dirty="0">
                <a:latin typeface="思源黑体" panose="020B0400000000000000" pitchFamily="34" charset="-122"/>
                <a:ea typeface="思源黑体" panose="020B0400000000000000" pitchFamily="34" charset="-122"/>
                <a:sym typeface="思源黑体" panose="020B0400000000000000" pitchFamily="34" charset="-122"/>
              </a:rPr>
              <a:t>1</a:t>
            </a:r>
            <a:endParaRPr lang="zh-CN" altLang="en-US" sz="2400" dirty="0"/>
          </a:p>
        </p:txBody>
      </p:sp>
      <p:sp>
        <p:nvSpPr>
          <p:cNvPr id="5" name="文本框 4"/>
          <p:cNvSpPr txBox="1"/>
          <p:nvPr userDrawn="1"/>
        </p:nvSpPr>
        <p:spPr>
          <a:xfrm>
            <a:off x="1296628" y="676830"/>
            <a:ext cx="3570339" cy="307777"/>
          </a:xfrm>
          <a:prstGeom prst="rect">
            <a:avLst/>
          </a:prstGeom>
          <a:noFill/>
        </p:spPr>
        <p:txBody>
          <a:bodyPr wrap="square" rtlCol="0">
            <a:spAutoFit/>
          </a:bodyPr>
          <a:lstStyle/>
          <a:p>
            <a:r>
              <a:rPr lang="en-US" altLang="zh-CN" sz="1400" dirty="0">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p>
        </p:txBody>
      </p:sp>
      <p:sp>
        <p:nvSpPr>
          <p:cNvPr id="6" name="矩形 5"/>
          <p:cNvSpPr/>
          <p:nvPr userDrawn="1"/>
        </p:nvSpPr>
        <p:spPr>
          <a:xfrm>
            <a:off x="352731" y="261726"/>
            <a:ext cx="471949" cy="4719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7" name="矩形 22"/>
          <p:cNvSpPr/>
          <p:nvPr userDrawn="1"/>
        </p:nvSpPr>
        <p:spPr>
          <a:xfrm rot="10800000">
            <a:off x="588705" y="389547"/>
            <a:ext cx="555998" cy="555998"/>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slideLayout" Target="../slideLayouts/slideLayout3.xml"/><Relationship Id="rId5" Type="http://schemas.openxmlformats.org/officeDocument/2006/relationships/image" Target="../media/image3.png"/><Relationship Id="rId4" Type="http://schemas.microsoft.com/office/2007/relationships/media" Target="../media/media1.mp3"/><Relationship Id="rId3" Type="http://schemas.openxmlformats.org/officeDocument/2006/relationships/audio" Target="../media/media1.mp3"/><Relationship Id="rId2" Type="http://schemas.openxmlformats.org/officeDocument/2006/relationships/image" Target="../media/image2.png"/><Relationship Id="rId1"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1.xml"/><Relationship Id="rId1"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1.xml"/><Relationship Id="rId1"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1.xml"/><Relationship Id="rId1" Type="http://schemas.openxmlformats.org/officeDocument/2006/relationships/image" Target="../media/image1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4" Type="http://schemas.openxmlformats.org/officeDocument/2006/relationships/notesSlide" Target="../notesSlides/notesSlide14.xml"/><Relationship Id="rId3" Type="http://schemas.openxmlformats.org/officeDocument/2006/relationships/slideLayout" Target="../slideLayouts/slideLayout8.xml"/><Relationship Id="rId2" Type="http://schemas.openxmlformats.org/officeDocument/2006/relationships/tags" Target="../tags/tag3.xml"/><Relationship Id="rId1" Type="http://schemas.openxmlformats.org/officeDocument/2006/relationships/image" Target="../media/image13.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1.xml"/><Relationship Id="rId1" Type="http://schemas.openxmlformats.org/officeDocument/2006/relationships/image" Target="../media/image15.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9.xml"/><Relationship Id="rId1" Type="http://schemas.openxmlformats.org/officeDocument/2006/relationships/image" Target="../media/image16.png"/></Relationships>
</file>

<file path=ppt/slides/_rels/slide2.xml.rels><?xml version="1.0" encoding="UTF-8" standalone="yes"?>
<Relationships xmlns="http://schemas.openxmlformats.org/package/2006/relationships"><Relationship Id="rId7" Type="http://schemas.openxmlformats.org/officeDocument/2006/relationships/notesSlide" Target="../notesSlides/notesSlide2.xml"/><Relationship Id="rId6" Type="http://schemas.openxmlformats.org/officeDocument/2006/relationships/vmlDrawing" Target="../drawings/vmlDrawing1.vml"/><Relationship Id="rId5" Type="http://schemas.openxmlformats.org/officeDocument/2006/relationships/slideLayout" Target="../slideLayouts/slideLayout4.xml"/><Relationship Id="rId4" Type="http://schemas.openxmlformats.org/officeDocument/2006/relationships/tags" Target="../tags/tag2.xml"/><Relationship Id="rId3" Type="http://schemas.openxmlformats.org/officeDocument/2006/relationships/image" Target="../media/image4.png"/><Relationship Id="rId2" Type="http://schemas.openxmlformats.org/officeDocument/2006/relationships/oleObject" Target="../embeddings/oleObject1.bin"/><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1.xml"/><Relationship Id="rId1" Type="http://schemas.openxmlformats.org/officeDocument/2006/relationships/image" Target="../media/image1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1.xml"/><Relationship Id="rId1" Type="http://schemas.openxmlformats.org/officeDocument/2006/relationships/image" Target="../media/image1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1.xml"/><Relationship Id="rId1" Type="http://schemas.openxmlformats.org/officeDocument/2006/relationships/image" Target="../media/image19.png"/></Relationships>
</file>

<file path=ppt/slides/_rels/slide27.xml.rels><?xml version="1.0" encoding="UTF-8" standalone="yes"?>
<Relationships xmlns="http://schemas.openxmlformats.org/package/2006/relationships"><Relationship Id="rId4" Type="http://schemas.openxmlformats.org/officeDocument/2006/relationships/notesSlide" Target="../notesSlides/notesSlide27.xml"/><Relationship Id="rId3" Type="http://schemas.openxmlformats.org/officeDocument/2006/relationships/slideLayout" Target="../slideLayouts/slideLayout21.xml"/><Relationship Id="rId2" Type="http://schemas.openxmlformats.org/officeDocument/2006/relationships/image" Target="../media/image20.png"/><Relationship Id="rId1" Type="http://schemas.openxmlformats.org/officeDocument/2006/relationships/tags" Target="../tags/tag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7.xml"/><Relationship Id="rId1" Type="http://schemas.openxmlformats.org/officeDocument/2006/relationships/image" Target="../media/image21.png"/></Relationships>
</file>

<file path=ppt/slides/_rels/slide31.xml.rels><?xml version="1.0" encoding="UTF-8" standalone="yes"?>
<Relationships xmlns="http://schemas.openxmlformats.org/package/2006/relationships"><Relationship Id="rId4" Type="http://schemas.openxmlformats.org/officeDocument/2006/relationships/notesSlide" Target="../notesSlides/notesSlide31.xml"/><Relationship Id="rId3" Type="http://schemas.openxmlformats.org/officeDocument/2006/relationships/slideLayout" Target="../slideLayouts/slideLayout3.xml"/><Relationship Id="rId2" Type="http://schemas.openxmlformats.org/officeDocument/2006/relationships/image" Target="../media/image22.png"/><Relationship Id="rId1" Type="http://schemas.openxmlformats.org/officeDocument/2006/relationships/image" Target="../media/image1.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1.xml"/><Relationship Id="rId1"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6.xml"/><Relationship Id="rId1" Type="http://schemas.openxmlformats.org/officeDocument/2006/relationships/image" Target="../media/image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1.xml"/><Relationship Id="rId1"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1.xml"/><Relationship Id="rId1"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1.xml"/><Relationship Id="rId1"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矩形 147"/>
          <p:cNvSpPr/>
          <p:nvPr/>
        </p:nvSpPr>
        <p:spPr>
          <a:xfrm rot="18900000">
            <a:off x="4407860" y="1165882"/>
            <a:ext cx="3355261" cy="33255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6" name="Freeform 38"/>
          <p:cNvSpPr/>
          <p:nvPr/>
        </p:nvSpPr>
        <p:spPr bwMode="auto">
          <a:xfrm rot="8289320" flipH="1" flipV="1">
            <a:off x="-1207776" y="1588005"/>
            <a:ext cx="2330512" cy="2681887"/>
          </a:xfrm>
          <a:custGeom>
            <a:avLst/>
            <a:gdLst>
              <a:gd name="T0" fmla="*/ 325 w 325"/>
              <a:gd name="T1" fmla="*/ 0 h 374"/>
              <a:gd name="T2" fmla="*/ 325 w 325"/>
              <a:gd name="T3" fmla="*/ 374 h 374"/>
              <a:gd name="T4" fmla="*/ 0 w 325"/>
              <a:gd name="T5" fmla="*/ 187 h 374"/>
              <a:gd name="T6" fmla="*/ 0 w 325"/>
              <a:gd name="T7" fmla="*/ 187 h 374"/>
              <a:gd name="T8" fmla="*/ 325 w 325"/>
              <a:gd name="T9" fmla="*/ 0 h 374"/>
            </a:gdLst>
            <a:ahLst/>
            <a:cxnLst>
              <a:cxn ang="0">
                <a:pos x="T0" y="T1"/>
              </a:cxn>
              <a:cxn ang="0">
                <a:pos x="T2" y="T3"/>
              </a:cxn>
              <a:cxn ang="0">
                <a:pos x="T4" y="T5"/>
              </a:cxn>
              <a:cxn ang="0">
                <a:pos x="T6" y="T7"/>
              </a:cxn>
              <a:cxn ang="0">
                <a:pos x="T8" y="T9"/>
              </a:cxn>
            </a:cxnLst>
            <a:rect l="0" t="0" r="r" b="b"/>
            <a:pathLst>
              <a:path w="325" h="374">
                <a:moveTo>
                  <a:pt x="325" y="0"/>
                </a:moveTo>
                <a:lnTo>
                  <a:pt x="325" y="374"/>
                </a:lnTo>
                <a:lnTo>
                  <a:pt x="0" y="187"/>
                </a:lnTo>
                <a:lnTo>
                  <a:pt x="0" y="187"/>
                </a:lnTo>
                <a:lnTo>
                  <a:pt x="325" y="0"/>
                </a:lnTo>
                <a:close/>
              </a:path>
            </a:pathLst>
          </a:custGeom>
          <a:solidFill>
            <a:schemeClr val="accent4"/>
          </a:solidFill>
          <a:ln>
            <a:noFill/>
          </a:ln>
        </p:spPr>
        <p:txBody>
          <a:bodyPr vert="horz" wrap="square" lIns="91440" tIns="45720" rIns="91440" bIns="45720" numCol="1" anchor="t" anchorCtr="0" compatLnSpc="1"/>
          <a:lstStyle/>
          <a:p>
            <a:endParaRPr lang="zh-CN" altLang="en-US"/>
          </a:p>
        </p:txBody>
      </p:sp>
      <p:sp>
        <p:nvSpPr>
          <p:cNvPr id="137" name="Freeform 39"/>
          <p:cNvSpPr/>
          <p:nvPr/>
        </p:nvSpPr>
        <p:spPr bwMode="auto">
          <a:xfrm rot="8289320" flipH="1" flipV="1">
            <a:off x="-315605" y="2587864"/>
            <a:ext cx="2330512" cy="2674718"/>
          </a:xfrm>
          <a:custGeom>
            <a:avLst/>
            <a:gdLst>
              <a:gd name="T0" fmla="*/ 325 w 325"/>
              <a:gd name="T1" fmla="*/ 187 h 373"/>
              <a:gd name="T2" fmla="*/ 325 w 325"/>
              <a:gd name="T3" fmla="*/ 187 h 373"/>
              <a:gd name="T4" fmla="*/ 2 w 325"/>
              <a:gd name="T5" fmla="*/ 373 h 373"/>
              <a:gd name="T6" fmla="*/ 0 w 325"/>
              <a:gd name="T7" fmla="*/ 373 h 373"/>
              <a:gd name="T8" fmla="*/ 0 w 325"/>
              <a:gd name="T9" fmla="*/ 0 h 373"/>
              <a:gd name="T10" fmla="*/ 325 w 325"/>
              <a:gd name="T11" fmla="*/ 187 h 373"/>
            </a:gdLst>
            <a:ahLst/>
            <a:cxnLst>
              <a:cxn ang="0">
                <a:pos x="T0" y="T1"/>
              </a:cxn>
              <a:cxn ang="0">
                <a:pos x="T2" y="T3"/>
              </a:cxn>
              <a:cxn ang="0">
                <a:pos x="T4" y="T5"/>
              </a:cxn>
              <a:cxn ang="0">
                <a:pos x="T6" y="T7"/>
              </a:cxn>
              <a:cxn ang="0">
                <a:pos x="T8" y="T9"/>
              </a:cxn>
              <a:cxn ang="0">
                <a:pos x="T10" y="T11"/>
              </a:cxn>
            </a:cxnLst>
            <a:rect l="0" t="0" r="r" b="b"/>
            <a:pathLst>
              <a:path w="325" h="373">
                <a:moveTo>
                  <a:pt x="325" y="187"/>
                </a:moveTo>
                <a:lnTo>
                  <a:pt x="325" y="187"/>
                </a:lnTo>
                <a:lnTo>
                  <a:pt x="2" y="373"/>
                </a:lnTo>
                <a:lnTo>
                  <a:pt x="0" y="373"/>
                </a:lnTo>
                <a:lnTo>
                  <a:pt x="0" y="0"/>
                </a:lnTo>
                <a:lnTo>
                  <a:pt x="325" y="187"/>
                </a:lnTo>
                <a:close/>
              </a:path>
            </a:pathLst>
          </a:custGeom>
          <a:blipFill>
            <a:blip r:embed="rId1"/>
            <a:stretch>
              <a:fillRect/>
            </a:stretch>
          </a:blipFill>
          <a:ln>
            <a:noFill/>
          </a:ln>
        </p:spPr>
        <p:txBody>
          <a:bodyPr vert="horz" wrap="square" lIns="91440" tIns="45720" rIns="91440" bIns="45720" numCol="1" anchor="t" anchorCtr="0" compatLnSpc="1"/>
          <a:lstStyle/>
          <a:p>
            <a:endParaRPr lang="zh-CN" altLang="en-US"/>
          </a:p>
        </p:txBody>
      </p:sp>
      <p:sp>
        <p:nvSpPr>
          <p:cNvPr id="138" name="Freeform 40"/>
          <p:cNvSpPr/>
          <p:nvPr/>
        </p:nvSpPr>
        <p:spPr bwMode="auto">
          <a:xfrm rot="8289320" flipH="1" flipV="1">
            <a:off x="586682" y="3583851"/>
            <a:ext cx="2316171" cy="2660374"/>
          </a:xfrm>
          <a:custGeom>
            <a:avLst/>
            <a:gdLst>
              <a:gd name="T0" fmla="*/ 323 w 323"/>
              <a:gd name="T1" fmla="*/ 0 h 371"/>
              <a:gd name="T2" fmla="*/ 323 w 323"/>
              <a:gd name="T3" fmla="*/ 371 h 371"/>
              <a:gd name="T4" fmla="*/ 0 w 323"/>
              <a:gd name="T5" fmla="*/ 186 h 371"/>
              <a:gd name="T6" fmla="*/ 323 w 323"/>
              <a:gd name="T7" fmla="*/ 0 h 371"/>
            </a:gdLst>
            <a:ahLst/>
            <a:cxnLst>
              <a:cxn ang="0">
                <a:pos x="T0" y="T1"/>
              </a:cxn>
              <a:cxn ang="0">
                <a:pos x="T2" y="T3"/>
              </a:cxn>
              <a:cxn ang="0">
                <a:pos x="T4" y="T5"/>
              </a:cxn>
              <a:cxn ang="0">
                <a:pos x="T6" y="T7"/>
              </a:cxn>
            </a:cxnLst>
            <a:rect l="0" t="0" r="r" b="b"/>
            <a:pathLst>
              <a:path w="323" h="371">
                <a:moveTo>
                  <a:pt x="323" y="0"/>
                </a:moveTo>
                <a:lnTo>
                  <a:pt x="323" y="371"/>
                </a:lnTo>
                <a:lnTo>
                  <a:pt x="0" y="186"/>
                </a:lnTo>
                <a:lnTo>
                  <a:pt x="323" y="0"/>
                </a:lnTo>
                <a:close/>
              </a:path>
            </a:pathLst>
          </a:custGeom>
          <a:solidFill>
            <a:schemeClr val="accent1">
              <a:lumMod val="60000"/>
              <a:lumOff val="40000"/>
            </a:schemeClr>
          </a:solidFill>
          <a:ln>
            <a:noFill/>
          </a:ln>
        </p:spPr>
        <p:txBody>
          <a:bodyPr vert="horz" wrap="square" lIns="91440" tIns="45720" rIns="91440" bIns="45720" numCol="1" anchor="t" anchorCtr="0" compatLnSpc="1"/>
          <a:lstStyle/>
          <a:p>
            <a:endParaRPr lang="zh-CN" altLang="en-US"/>
          </a:p>
        </p:txBody>
      </p:sp>
      <p:sp>
        <p:nvSpPr>
          <p:cNvPr id="139" name="Freeform 44"/>
          <p:cNvSpPr/>
          <p:nvPr/>
        </p:nvSpPr>
        <p:spPr bwMode="auto">
          <a:xfrm rot="8289320" flipH="1" flipV="1">
            <a:off x="-2032965" y="4135405"/>
            <a:ext cx="2308999" cy="2674718"/>
          </a:xfrm>
          <a:custGeom>
            <a:avLst/>
            <a:gdLst>
              <a:gd name="T0" fmla="*/ 322 w 322"/>
              <a:gd name="T1" fmla="*/ 0 h 373"/>
              <a:gd name="T2" fmla="*/ 322 w 322"/>
              <a:gd name="T3" fmla="*/ 373 h 373"/>
              <a:gd name="T4" fmla="*/ 322 w 322"/>
              <a:gd name="T5" fmla="*/ 373 h 373"/>
              <a:gd name="T6" fmla="*/ 0 w 322"/>
              <a:gd name="T7" fmla="*/ 187 h 373"/>
              <a:gd name="T8" fmla="*/ 322 w 322"/>
              <a:gd name="T9" fmla="*/ 0 h 373"/>
            </a:gdLst>
            <a:ahLst/>
            <a:cxnLst>
              <a:cxn ang="0">
                <a:pos x="T0" y="T1"/>
              </a:cxn>
              <a:cxn ang="0">
                <a:pos x="T2" y="T3"/>
              </a:cxn>
              <a:cxn ang="0">
                <a:pos x="T4" y="T5"/>
              </a:cxn>
              <a:cxn ang="0">
                <a:pos x="T6" y="T7"/>
              </a:cxn>
              <a:cxn ang="0">
                <a:pos x="T8" y="T9"/>
              </a:cxn>
            </a:cxnLst>
            <a:rect l="0" t="0" r="r" b="b"/>
            <a:pathLst>
              <a:path w="322" h="373">
                <a:moveTo>
                  <a:pt x="322" y="0"/>
                </a:moveTo>
                <a:lnTo>
                  <a:pt x="322" y="373"/>
                </a:lnTo>
                <a:lnTo>
                  <a:pt x="322" y="373"/>
                </a:lnTo>
                <a:lnTo>
                  <a:pt x="0" y="187"/>
                </a:lnTo>
                <a:lnTo>
                  <a:pt x="322" y="0"/>
                </a:lnTo>
                <a:close/>
              </a:path>
            </a:pathLst>
          </a:custGeom>
          <a:solidFill>
            <a:schemeClr val="accent4"/>
          </a:solidFill>
          <a:ln>
            <a:noFill/>
          </a:ln>
        </p:spPr>
        <p:txBody>
          <a:bodyPr vert="horz" wrap="square" lIns="91440" tIns="45720" rIns="91440" bIns="45720" numCol="1" anchor="t" anchorCtr="0" compatLnSpc="1"/>
          <a:lstStyle/>
          <a:p>
            <a:endParaRPr lang="zh-CN" altLang="en-US"/>
          </a:p>
        </p:txBody>
      </p:sp>
      <p:sp>
        <p:nvSpPr>
          <p:cNvPr id="141" name="Freeform 48"/>
          <p:cNvSpPr/>
          <p:nvPr/>
        </p:nvSpPr>
        <p:spPr bwMode="auto">
          <a:xfrm rot="10013244" flipH="1" flipV="1">
            <a:off x="8578778" y="2938361"/>
            <a:ext cx="2029332" cy="2349756"/>
          </a:xfrm>
          <a:custGeom>
            <a:avLst/>
            <a:gdLst>
              <a:gd name="T0" fmla="*/ 323 w 323"/>
              <a:gd name="T1" fmla="*/ 0 h 374"/>
              <a:gd name="T2" fmla="*/ 323 w 323"/>
              <a:gd name="T3" fmla="*/ 374 h 374"/>
              <a:gd name="T4" fmla="*/ 0 w 323"/>
              <a:gd name="T5" fmla="*/ 187 h 374"/>
              <a:gd name="T6" fmla="*/ 0 w 323"/>
              <a:gd name="T7" fmla="*/ 187 h 374"/>
              <a:gd name="T8" fmla="*/ 323 w 323"/>
              <a:gd name="T9" fmla="*/ 0 h 374"/>
            </a:gdLst>
            <a:ahLst/>
            <a:cxnLst>
              <a:cxn ang="0">
                <a:pos x="T0" y="T1"/>
              </a:cxn>
              <a:cxn ang="0">
                <a:pos x="T2" y="T3"/>
              </a:cxn>
              <a:cxn ang="0">
                <a:pos x="T4" y="T5"/>
              </a:cxn>
              <a:cxn ang="0">
                <a:pos x="T6" y="T7"/>
              </a:cxn>
              <a:cxn ang="0">
                <a:pos x="T8" y="T9"/>
              </a:cxn>
            </a:cxnLst>
            <a:rect l="0" t="0" r="r" b="b"/>
            <a:pathLst>
              <a:path w="323" h="374">
                <a:moveTo>
                  <a:pt x="323" y="0"/>
                </a:moveTo>
                <a:lnTo>
                  <a:pt x="323" y="374"/>
                </a:lnTo>
                <a:lnTo>
                  <a:pt x="0" y="187"/>
                </a:lnTo>
                <a:lnTo>
                  <a:pt x="0" y="187"/>
                </a:lnTo>
                <a:lnTo>
                  <a:pt x="323" y="0"/>
                </a:lnTo>
                <a:close/>
              </a:path>
            </a:pathLst>
          </a:custGeom>
          <a:solidFill>
            <a:schemeClr val="accent1"/>
          </a:solidFill>
          <a:ln w="9525">
            <a:noFill/>
            <a:round/>
          </a:ln>
        </p:spPr>
        <p:txBody>
          <a:bodyPr vert="horz" wrap="square" lIns="91440" tIns="45720" rIns="91440" bIns="45720" numCol="1" anchor="t" anchorCtr="0" compatLnSpc="1"/>
          <a:lstStyle/>
          <a:p>
            <a:endParaRPr lang="zh-CN" altLang="en-US"/>
          </a:p>
        </p:txBody>
      </p:sp>
      <p:sp>
        <p:nvSpPr>
          <p:cNvPr id="142" name="Freeform 49"/>
          <p:cNvSpPr/>
          <p:nvPr/>
        </p:nvSpPr>
        <p:spPr bwMode="auto">
          <a:xfrm rot="10013244" flipH="1" flipV="1">
            <a:off x="11086686" y="4765200"/>
            <a:ext cx="2041897" cy="2337188"/>
          </a:xfrm>
          <a:custGeom>
            <a:avLst/>
            <a:gdLst>
              <a:gd name="T0" fmla="*/ 325 w 325"/>
              <a:gd name="T1" fmla="*/ 185 h 372"/>
              <a:gd name="T2" fmla="*/ 0 w 325"/>
              <a:gd name="T3" fmla="*/ 372 h 372"/>
              <a:gd name="T4" fmla="*/ 0 w 325"/>
              <a:gd name="T5" fmla="*/ 0 h 372"/>
              <a:gd name="T6" fmla="*/ 2 w 325"/>
              <a:gd name="T7" fmla="*/ 0 h 372"/>
              <a:gd name="T8" fmla="*/ 325 w 325"/>
              <a:gd name="T9" fmla="*/ 185 h 372"/>
            </a:gdLst>
            <a:ahLst/>
            <a:cxnLst>
              <a:cxn ang="0">
                <a:pos x="T0" y="T1"/>
              </a:cxn>
              <a:cxn ang="0">
                <a:pos x="T2" y="T3"/>
              </a:cxn>
              <a:cxn ang="0">
                <a:pos x="T4" y="T5"/>
              </a:cxn>
              <a:cxn ang="0">
                <a:pos x="T6" y="T7"/>
              </a:cxn>
              <a:cxn ang="0">
                <a:pos x="T8" y="T9"/>
              </a:cxn>
            </a:cxnLst>
            <a:rect l="0" t="0" r="r" b="b"/>
            <a:pathLst>
              <a:path w="325" h="372">
                <a:moveTo>
                  <a:pt x="325" y="185"/>
                </a:moveTo>
                <a:lnTo>
                  <a:pt x="0" y="372"/>
                </a:lnTo>
                <a:lnTo>
                  <a:pt x="0" y="0"/>
                </a:lnTo>
                <a:lnTo>
                  <a:pt x="2" y="0"/>
                </a:lnTo>
                <a:lnTo>
                  <a:pt x="325" y="185"/>
                </a:lnTo>
                <a:close/>
              </a:path>
            </a:pathLst>
          </a:custGeom>
          <a:solidFill>
            <a:schemeClr val="accent2"/>
          </a:solidFill>
          <a:ln>
            <a:noFill/>
          </a:ln>
        </p:spPr>
        <p:txBody>
          <a:bodyPr vert="horz" wrap="square" lIns="91440" tIns="45720" rIns="91440" bIns="45720" numCol="1" anchor="t" anchorCtr="0" compatLnSpc="1"/>
          <a:lstStyle/>
          <a:p>
            <a:endParaRPr lang="zh-CN" altLang="en-US"/>
          </a:p>
        </p:txBody>
      </p:sp>
      <p:sp>
        <p:nvSpPr>
          <p:cNvPr id="143" name="Freeform 53"/>
          <p:cNvSpPr/>
          <p:nvPr/>
        </p:nvSpPr>
        <p:spPr bwMode="auto">
          <a:xfrm rot="10013244" flipH="1" flipV="1">
            <a:off x="10555034" y="2476551"/>
            <a:ext cx="2041897" cy="2349756"/>
          </a:xfrm>
          <a:custGeom>
            <a:avLst/>
            <a:gdLst>
              <a:gd name="T0" fmla="*/ 325 w 325"/>
              <a:gd name="T1" fmla="*/ 187 h 374"/>
              <a:gd name="T2" fmla="*/ 325 w 325"/>
              <a:gd name="T3" fmla="*/ 187 h 374"/>
              <a:gd name="T4" fmla="*/ 2 w 325"/>
              <a:gd name="T5" fmla="*/ 374 h 374"/>
              <a:gd name="T6" fmla="*/ 0 w 325"/>
              <a:gd name="T7" fmla="*/ 374 h 374"/>
              <a:gd name="T8" fmla="*/ 0 w 325"/>
              <a:gd name="T9" fmla="*/ 0 h 374"/>
              <a:gd name="T10" fmla="*/ 325 w 325"/>
              <a:gd name="T11" fmla="*/ 187 h 374"/>
            </a:gdLst>
            <a:ahLst/>
            <a:cxnLst>
              <a:cxn ang="0">
                <a:pos x="T0" y="T1"/>
              </a:cxn>
              <a:cxn ang="0">
                <a:pos x="T2" y="T3"/>
              </a:cxn>
              <a:cxn ang="0">
                <a:pos x="T4" y="T5"/>
              </a:cxn>
              <a:cxn ang="0">
                <a:pos x="T6" y="T7"/>
              </a:cxn>
              <a:cxn ang="0">
                <a:pos x="T8" y="T9"/>
              </a:cxn>
              <a:cxn ang="0">
                <a:pos x="T10" y="T11"/>
              </a:cxn>
            </a:cxnLst>
            <a:rect l="0" t="0" r="r" b="b"/>
            <a:pathLst>
              <a:path w="325" h="374">
                <a:moveTo>
                  <a:pt x="325" y="187"/>
                </a:moveTo>
                <a:lnTo>
                  <a:pt x="325" y="187"/>
                </a:lnTo>
                <a:lnTo>
                  <a:pt x="2" y="374"/>
                </a:lnTo>
                <a:lnTo>
                  <a:pt x="0" y="374"/>
                </a:lnTo>
                <a:lnTo>
                  <a:pt x="0" y="0"/>
                </a:lnTo>
                <a:lnTo>
                  <a:pt x="325" y="187"/>
                </a:lnTo>
                <a:close/>
              </a:path>
            </a:pathLst>
          </a:custGeom>
          <a:blipFill>
            <a:blip r:embed="rId2"/>
            <a:stretch>
              <a:fillRect/>
            </a:stretch>
          </a:blipFill>
          <a:ln>
            <a:noFill/>
          </a:ln>
        </p:spPr>
        <p:txBody>
          <a:bodyPr vert="horz" wrap="square" lIns="91440" tIns="45720" rIns="91440" bIns="45720" numCol="1" anchor="t" anchorCtr="0" compatLnSpc="1"/>
          <a:lstStyle/>
          <a:p>
            <a:endParaRPr lang="zh-CN" altLang="en-US"/>
          </a:p>
        </p:txBody>
      </p:sp>
      <p:sp>
        <p:nvSpPr>
          <p:cNvPr id="144" name="Freeform 27"/>
          <p:cNvSpPr/>
          <p:nvPr/>
        </p:nvSpPr>
        <p:spPr bwMode="auto">
          <a:xfrm rot="10013244" flipH="1" flipV="1">
            <a:off x="9827109" y="5187691"/>
            <a:ext cx="1183657" cy="1367456"/>
          </a:xfrm>
          <a:custGeom>
            <a:avLst/>
            <a:gdLst>
              <a:gd name="T0" fmla="*/ 322 w 322"/>
              <a:gd name="T1" fmla="*/ 0 h 372"/>
              <a:gd name="T2" fmla="*/ 322 w 322"/>
              <a:gd name="T3" fmla="*/ 372 h 372"/>
              <a:gd name="T4" fmla="*/ 0 w 322"/>
              <a:gd name="T5" fmla="*/ 185 h 372"/>
              <a:gd name="T6" fmla="*/ 322 w 322"/>
              <a:gd name="T7" fmla="*/ 0 h 372"/>
            </a:gdLst>
            <a:ahLst/>
            <a:cxnLst>
              <a:cxn ang="0">
                <a:pos x="T0" y="T1"/>
              </a:cxn>
              <a:cxn ang="0">
                <a:pos x="T2" y="T3"/>
              </a:cxn>
              <a:cxn ang="0">
                <a:pos x="T4" y="T5"/>
              </a:cxn>
              <a:cxn ang="0">
                <a:pos x="T6" y="T7"/>
              </a:cxn>
            </a:cxnLst>
            <a:rect l="0" t="0" r="r" b="b"/>
            <a:pathLst>
              <a:path w="322" h="372">
                <a:moveTo>
                  <a:pt x="322" y="0"/>
                </a:moveTo>
                <a:lnTo>
                  <a:pt x="322" y="372"/>
                </a:lnTo>
                <a:lnTo>
                  <a:pt x="0" y="185"/>
                </a:lnTo>
                <a:lnTo>
                  <a:pt x="322" y="0"/>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grpSp>
        <p:nvGrpSpPr>
          <p:cNvPr id="5" name="组合 4"/>
          <p:cNvGrpSpPr/>
          <p:nvPr/>
        </p:nvGrpSpPr>
        <p:grpSpPr>
          <a:xfrm>
            <a:off x="4004152" y="167325"/>
            <a:ext cx="4188764" cy="5332442"/>
            <a:chOff x="5013830" y="1619293"/>
            <a:chExt cx="3467100" cy="4413739"/>
          </a:xfrm>
        </p:grpSpPr>
        <p:sp>
          <p:nvSpPr>
            <p:cNvPr id="23" name="矩形 22"/>
            <p:cNvSpPr/>
            <p:nvPr/>
          </p:nvSpPr>
          <p:spPr>
            <a:xfrm rot="18900000" flipV="1">
              <a:off x="5013830" y="1619293"/>
              <a:ext cx="3467100" cy="346710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4" name="矩形 22"/>
            <p:cNvSpPr/>
            <p:nvPr/>
          </p:nvSpPr>
          <p:spPr>
            <a:xfrm rot="2700000">
              <a:off x="5013830" y="2565932"/>
              <a:ext cx="3467100" cy="346710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grpSp>
        <p:nvGrpSpPr>
          <p:cNvPr id="35" name="组合 34"/>
          <p:cNvGrpSpPr/>
          <p:nvPr/>
        </p:nvGrpSpPr>
        <p:grpSpPr>
          <a:xfrm>
            <a:off x="4682073" y="1030342"/>
            <a:ext cx="2832922" cy="3606408"/>
            <a:chOff x="5013830" y="1619293"/>
            <a:chExt cx="3467100" cy="4413739"/>
          </a:xfrm>
        </p:grpSpPr>
        <p:sp>
          <p:nvSpPr>
            <p:cNvPr id="36" name="矩形 22"/>
            <p:cNvSpPr/>
            <p:nvPr/>
          </p:nvSpPr>
          <p:spPr>
            <a:xfrm rot="18900000" flipV="1">
              <a:off x="5013830" y="1619293"/>
              <a:ext cx="3467100" cy="346710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7" name="矩形 22"/>
            <p:cNvSpPr/>
            <p:nvPr/>
          </p:nvSpPr>
          <p:spPr>
            <a:xfrm rot="2700000">
              <a:off x="5013830" y="2565932"/>
              <a:ext cx="3467100" cy="346710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sp>
        <p:nvSpPr>
          <p:cNvPr id="6" name="矩形 5"/>
          <p:cNvSpPr/>
          <p:nvPr/>
        </p:nvSpPr>
        <p:spPr>
          <a:xfrm rot="2700000">
            <a:off x="2758183" y="2595352"/>
            <a:ext cx="549163" cy="549163"/>
          </a:xfrm>
          <a:prstGeom prst="rect">
            <a:avLst/>
          </a:prstGeom>
          <a:solidFill>
            <a:schemeClr val="tx1">
              <a:lumMod val="75000"/>
              <a:lumOff val="2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8" name="矩形 37"/>
          <p:cNvSpPr/>
          <p:nvPr/>
        </p:nvSpPr>
        <p:spPr>
          <a:xfrm rot="2700000">
            <a:off x="8860308" y="2595353"/>
            <a:ext cx="549163" cy="549163"/>
          </a:xfrm>
          <a:prstGeom prst="rect">
            <a:avLst/>
          </a:prstGeom>
          <a:solidFill>
            <a:schemeClr val="tx1">
              <a:lumMod val="75000"/>
              <a:lumOff val="2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49" name="矩形 148"/>
          <p:cNvSpPr/>
          <p:nvPr/>
        </p:nvSpPr>
        <p:spPr>
          <a:xfrm>
            <a:off x="4277360" y="5947108"/>
            <a:ext cx="3637280" cy="337185"/>
          </a:xfrm>
          <a:prstGeom prst="rect">
            <a:avLst/>
          </a:prstGeom>
        </p:spPr>
        <p:txBody>
          <a:bodyPr wrap="none">
            <a:spAutoFit/>
          </a:bodyPr>
          <a:lstStyle/>
          <a:p>
            <a:pPr algn="ctr"/>
            <a:r>
              <a:rPr lang="zh-CN" altLang="en-US"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汇报时间：</a:t>
            </a:r>
            <a:r>
              <a:rPr lang="en-US" altLang="zh-CN"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2021</a:t>
            </a:r>
            <a:r>
              <a:rPr lang="zh-CN" altLang="en-US"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年</a:t>
            </a:r>
            <a:r>
              <a:rPr lang="en-US" altLang="zh-CN"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4</a:t>
            </a:r>
            <a:r>
              <a:rPr lang="zh-CN" altLang="en-US"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月   汇报人：冯浩</a:t>
            </a:r>
            <a:endParaRPr lang="zh-CN" altLang="en-US"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51" name="矩形 150"/>
          <p:cNvSpPr/>
          <p:nvPr/>
        </p:nvSpPr>
        <p:spPr>
          <a:xfrm>
            <a:off x="3039970" y="3466515"/>
            <a:ext cx="6289318" cy="645160"/>
          </a:xfrm>
          <a:prstGeom prst="rect">
            <a:avLst/>
          </a:prstGeom>
          <a:noFill/>
        </p:spPr>
        <p:txBody>
          <a:bodyPr wrap="square">
            <a:spAutoFit/>
          </a:bodyPr>
          <a:lstStyle/>
          <a:p>
            <a:pPr algn="ctr" defTabSz="914400">
              <a:spcBef>
                <a:spcPct val="0"/>
              </a:spcBef>
            </a:pPr>
            <a:r>
              <a:rPr lang="zh-CN" altLang="en-US" sz="3600" spc="-150" dirty="0">
                <a:solidFill>
                  <a:schemeClr val="tx1">
                    <a:lumMod val="75000"/>
                    <a:lumOff val="25000"/>
                  </a:schemeClr>
                </a:solidFill>
                <a:latin typeface="思源黑体 CN Heavy" panose="020B0A00000000000000" pitchFamily="34" charset="-122"/>
                <a:ea typeface="思源黑体 CN Heavy" panose="020B0A00000000000000" pitchFamily="34" charset="-122"/>
                <a:cs typeface="+mj-cs"/>
              </a:rPr>
              <a:t>系统设计和数据库设计答辩</a:t>
            </a:r>
            <a:r>
              <a:rPr lang="en-US" altLang="zh-CN" sz="3600" spc="-150" dirty="0">
                <a:solidFill>
                  <a:schemeClr val="tx1">
                    <a:lumMod val="75000"/>
                    <a:lumOff val="25000"/>
                  </a:schemeClr>
                </a:solidFill>
                <a:latin typeface="思源黑体 CN Heavy" panose="020B0A00000000000000" pitchFamily="34" charset="-122"/>
                <a:ea typeface="思源黑体 CN Heavy" panose="020B0A00000000000000" pitchFamily="34" charset="-122"/>
                <a:cs typeface="+mj-cs"/>
              </a:rPr>
              <a:t>PPT</a:t>
            </a:r>
            <a:endParaRPr lang="en-US" altLang="zh-CN" sz="3600" spc="-150" dirty="0">
              <a:solidFill>
                <a:schemeClr val="tx1">
                  <a:lumMod val="75000"/>
                  <a:lumOff val="25000"/>
                </a:schemeClr>
              </a:solidFill>
              <a:latin typeface="思源黑体 CN Heavy" panose="020B0A00000000000000" pitchFamily="34" charset="-122"/>
              <a:ea typeface="思源黑体 CN Heavy" panose="020B0A00000000000000" pitchFamily="34" charset="-122"/>
              <a:cs typeface="+mj-cs"/>
            </a:endParaRPr>
          </a:p>
        </p:txBody>
      </p:sp>
      <p:sp>
        <p:nvSpPr>
          <p:cNvPr id="152" name="矩形 151"/>
          <p:cNvSpPr/>
          <p:nvPr/>
        </p:nvSpPr>
        <p:spPr>
          <a:xfrm>
            <a:off x="2954937" y="2151288"/>
            <a:ext cx="6289318" cy="1198880"/>
          </a:xfrm>
          <a:prstGeom prst="rect">
            <a:avLst/>
          </a:prstGeom>
          <a:noFill/>
        </p:spPr>
        <p:txBody>
          <a:bodyPr wrap="square">
            <a:spAutoFit/>
          </a:bodyPr>
          <a:lstStyle/>
          <a:p>
            <a:pPr algn="ctr" defTabSz="914400">
              <a:spcBef>
                <a:spcPct val="0"/>
              </a:spcBef>
            </a:pPr>
            <a:r>
              <a:rPr lang="zh-CN" altLang="en-US" sz="7200" spc="-150" dirty="0">
                <a:gradFill>
                  <a:gsLst>
                    <a:gs pos="1770">
                      <a:schemeClr val="tx1">
                        <a:lumMod val="65000"/>
                        <a:lumOff val="35000"/>
                      </a:schemeClr>
                    </a:gs>
                    <a:gs pos="20000">
                      <a:schemeClr val="tx1">
                        <a:lumMod val="65000"/>
                        <a:lumOff val="35000"/>
                      </a:schemeClr>
                    </a:gs>
                    <a:gs pos="100000">
                      <a:schemeClr val="tx1">
                        <a:lumMod val="95000"/>
                        <a:lumOff val="5000"/>
                      </a:schemeClr>
                    </a:gs>
                  </a:gsLst>
                  <a:lin ang="2700000" scaled="1"/>
                </a:gradFill>
                <a:effectLst/>
                <a:latin typeface="汉仪粗圆简" panose="02010600000101010101" charset="-122"/>
                <a:ea typeface="汉仪粗圆简" panose="02010600000101010101" charset="-122"/>
                <a:cs typeface="+mj-cs"/>
              </a:rPr>
              <a:t>疯狂的</a:t>
            </a:r>
            <a:r>
              <a:rPr lang="en-US" altLang="zh-CN" sz="7200" spc="-150" dirty="0">
                <a:gradFill>
                  <a:gsLst>
                    <a:gs pos="1770">
                      <a:schemeClr val="tx1">
                        <a:lumMod val="65000"/>
                        <a:lumOff val="35000"/>
                      </a:schemeClr>
                    </a:gs>
                    <a:gs pos="20000">
                      <a:schemeClr val="tx1">
                        <a:lumMod val="65000"/>
                        <a:lumOff val="35000"/>
                      </a:schemeClr>
                    </a:gs>
                    <a:gs pos="100000">
                      <a:schemeClr val="tx1">
                        <a:lumMod val="95000"/>
                        <a:lumOff val="5000"/>
                      </a:schemeClr>
                    </a:gs>
                  </a:gsLst>
                  <a:lin ang="2700000" scaled="1"/>
                </a:gradFill>
                <a:effectLst/>
                <a:latin typeface="汉仪粗圆简" panose="02010600000101010101" charset="-122"/>
                <a:ea typeface="汉仪粗圆简" panose="02010600000101010101" charset="-122"/>
                <a:cs typeface="+mj-cs"/>
              </a:rPr>
              <a:t>T</a:t>
            </a:r>
            <a:r>
              <a:rPr lang="en-US" altLang="zh-CN" sz="4800" spc="-150" dirty="0">
                <a:gradFill>
                  <a:gsLst>
                    <a:gs pos="1770">
                      <a:schemeClr val="tx1">
                        <a:lumMod val="65000"/>
                        <a:lumOff val="35000"/>
                      </a:schemeClr>
                    </a:gs>
                    <a:gs pos="20000">
                      <a:schemeClr val="tx1">
                        <a:lumMod val="65000"/>
                        <a:lumOff val="35000"/>
                      </a:schemeClr>
                    </a:gs>
                    <a:gs pos="100000">
                      <a:schemeClr val="tx1">
                        <a:lumMod val="95000"/>
                        <a:lumOff val="5000"/>
                      </a:schemeClr>
                    </a:gs>
                  </a:gsLst>
                  <a:lin ang="2700000" scaled="1"/>
                </a:gradFill>
                <a:effectLst/>
                <a:latin typeface="汉仪粗圆简" panose="02010600000101010101" charset="-122"/>
                <a:ea typeface="汉仪粗圆简" panose="02010600000101010101" charset="-122"/>
                <a:cs typeface="+mj-cs"/>
              </a:rPr>
              <a:t>U</a:t>
            </a:r>
            <a:r>
              <a:rPr lang="en-US" altLang="zh-CN" sz="7200" spc="-150" dirty="0">
                <a:gradFill>
                  <a:gsLst>
                    <a:gs pos="1770">
                      <a:schemeClr val="tx1">
                        <a:lumMod val="65000"/>
                        <a:lumOff val="35000"/>
                      </a:schemeClr>
                    </a:gs>
                    <a:gs pos="20000">
                      <a:schemeClr val="tx1">
                        <a:lumMod val="65000"/>
                        <a:lumOff val="35000"/>
                      </a:schemeClr>
                    </a:gs>
                    <a:gs pos="100000">
                      <a:schemeClr val="tx1">
                        <a:lumMod val="95000"/>
                        <a:lumOff val="5000"/>
                      </a:schemeClr>
                    </a:gs>
                  </a:gsLst>
                  <a:lin ang="2700000" scaled="1"/>
                </a:gradFill>
                <a:effectLst/>
                <a:latin typeface="汉仪粗圆简" panose="02010600000101010101" charset="-122"/>
                <a:ea typeface="汉仪粗圆简" panose="02010600000101010101" charset="-122"/>
                <a:cs typeface="+mj-cs"/>
              </a:rPr>
              <a:t>T</a:t>
            </a:r>
            <a:r>
              <a:rPr lang="zh-CN" altLang="en-US" sz="7200" spc="-150" dirty="0">
                <a:gradFill>
                  <a:gsLst>
                    <a:gs pos="1770">
                      <a:schemeClr val="tx1">
                        <a:lumMod val="65000"/>
                        <a:lumOff val="35000"/>
                      </a:schemeClr>
                    </a:gs>
                    <a:gs pos="20000">
                      <a:schemeClr val="tx1">
                        <a:lumMod val="65000"/>
                        <a:lumOff val="35000"/>
                      </a:schemeClr>
                    </a:gs>
                    <a:gs pos="100000">
                      <a:schemeClr val="tx1">
                        <a:lumMod val="95000"/>
                        <a:lumOff val="5000"/>
                      </a:schemeClr>
                    </a:gs>
                  </a:gsLst>
                  <a:lin ang="2700000" scaled="1"/>
                </a:gradFill>
                <a:effectLst/>
                <a:latin typeface="汉仪粗圆简" panose="02010600000101010101" charset="-122"/>
                <a:ea typeface="汉仪粗圆简" panose="02010600000101010101" charset="-122"/>
                <a:cs typeface="+mj-cs"/>
              </a:rPr>
              <a:t>们</a:t>
            </a:r>
            <a:endParaRPr lang="zh-CN" altLang="en-US" sz="7200" spc="-150" dirty="0">
              <a:gradFill>
                <a:gsLst>
                  <a:gs pos="1770">
                    <a:schemeClr val="tx1">
                      <a:lumMod val="65000"/>
                      <a:lumOff val="35000"/>
                    </a:schemeClr>
                  </a:gs>
                  <a:gs pos="20000">
                    <a:schemeClr val="tx1">
                      <a:lumMod val="65000"/>
                      <a:lumOff val="35000"/>
                    </a:schemeClr>
                  </a:gs>
                  <a:gs pos="100000">
                    <a:schemeClr val="tx1">
                      <a:lumMod val="95000"/>
                      <a:lumOff val="5000"/>
                    </a:schemeClr>
                  </a:gs>
                </a:gsLst>
                <a:lin ang="2700000" scaled="1"/>
              </a:gradFill>
              <a:effectLst/>
              <a:latin typeface="汉仪粗圆简" panose="02010600000101010101" charset="-122"/>
              <a:ea typeface="汉仪粗圆简" panose="02010600000101010101" charset="-122"/>
              <a:cs typeface="+mj-cs"/>
            </a:endParaRPr>
          </a:p>
        </p:txBody>
      </p:sp>
      <p:sp>
        <p:nvSpPr>
          <p:cNvPr id="34" name="矩形 33"/>
          <p:cNvSpPr/>
          <p:nvPr/>
        </p:nvSpPr>
        <p:spPr>
          <a:xfrm>
            <a:off x="756440" y="-2544245"/>
            <a:ext cx="2698175" cy="523220"/>
          </a:xfrm>
          <a:prstGeom prst="rect">
            <a:avLst/>
          </a:prstGeom>
        </p:spPr>
        <p:txBody>
          <a:bodyPr wrap="none">
            <a:spAutoFit/>
          </a:bodyPr>
          <a:lstStyle/>
          <a:p>
            <a:r>
              <a:rPr lang="zh-CN" altLang="en-US" sz="2800" dirty="0"/>
              <a:t>震撼的科技企业</a:t>
            </a:r>
            <a:endParaRPr lang="zh-CN" altLang="en-US" sz="2800" dirty="0"/>
          </a:p>
        </p:txBody>
      </p:sp>
      <p:pic>
        <p:nvPicPr>
          <p:cNvPr id="39" name="震撼的科技企业">
            <a:hlinkClick r:id="" action="ppaction://media"/>
          </p:cNvPr>
          <p:cNvPicPr>
            <a:picLocks noChangeAspect="1"/>
          </p:cNvPicPr>
          <p:nvPr>
            <a:audioFile r:link="rId3"/>
            <p:extLst>
              <p:ext uri="{DAA4B4D4-6D71-4841-9C94-3DE7FCFB9230}">
                <p14:media xmlns:p14="http://schemas.microsoft.com/office/powerpoint/2010/main" r:embed="rId4">
                  <p14:fade in="250.000000" out="250.000000"/>
                </p14:media>
              </p:ext>
            </p:extLst>
          </p:nvPr>
        </p:nvPicPr>
        <p:blipFill>
          <a:blip r:embed="rId5"/>
          <a:stretch>
            <a:fillRect/>
          </a:stretch>
        </p:blipFill>
        <p:spPr>
          <a:xfrm>
            <a:off x="0" y="-2587435"/>
            <a:ext cx="609600" cy="609600"/>
          </a:xfrm>
          <a:prstGeom prst="rect">
            <a:avLst/>
          </a:prstGeom>
        </p:spPr>
      </p:pic>
      <p:sp>
        <p:nvSpPr>
          <p:cNvPr id="40" name="文本框 39"/>
          <p:cNvSpPr txBox="1"/>
          <p:nvPr/>
        </p:nvSpPr>
        <p:spPr>
          <a:xfrm>
            <a:off x="-32063822" y="52592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endParaRPr>
          </a:p>
        </p:txBody>
      </p:sp>
      <p:sp>
        <p:nvSpPr>
          <p:cNvPr id="41" name="文本框 40"/>
          <p:cNvSpPr txBox="1"/>
          <p:nvPr/>
        </p:nvSpPr>
        <p:spPr>
          <a:xfrm>
            <a:off x="-19973422" y="-15670373"/>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endParaRPr>
          </a:p>
        </p:txBody>
      </p:sp>
      <p:sp>
        <p:nvSpPr>
          <p:cNvPr id="42" name="文本框 41"/>
          <p:cNvSpPr txBox="1"/>
          <p:nvPr/>
        </p:nvSpPr>
        <p:spPr>
          <a:xfrm>
            <a:off x="38852978" y="20296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endParaRPr>
          </a:p>
        </p:txBody>
      </p:sp>
      <p:sp>
        <p:nvSpPr>
          <p:cNvPr id="43" name="文本框 42"/>
          <p:cNvSpPr txBox="1"/>
          <p:nvPr/>
        </p:nvSpPr>
        <p:spPr>
          <a:xfrm>
            <a:off x="-24850222" y="18772027"/>
            <a:ext cx="1965874" cy="113995"/>
          </a:xfrm>
          <a:custGeom>
            <a:avLst/>
            <a:gdLst/>
            <a:ahLst/>
            <a:cxnLst/>
            <a:rect l="l" t="t" r="r" b="b"/>
            <a:pathLst>
              <a:path w="1965874" h="113995">
                <a:moveTo>
                  <a:pt x="891806" y="87487"/>
                </a:moveTo>
                <a:cubicBezTo>
                  <a:pt x="887684" y="90420"/>
                  <a:pt x="885624" y="93808"/>
                  <a:pt x="885624" y="97650"/>
                </a:cubicBezTo>
                <a:cubicBezTo>
                  <a:pt x="885624" y="100793"/>
                  <a:pt x="887126" y="103308"/>
                  <a:pt x="890130" y="105194"/>
                </a:cubicBezTo>
                <a:cubicBezTo>
                  <a:pt x="893134" y="107080"/>
                  <a:pt x="897290" y="108023"/>
                  <a:pt x="902598" y="108023"/>
                </a:cubicBezTo>
                <a:cubicBezTo>
                  <a:pt x="908046" y="108023"/>
                  <a:pt x="912586" y="106765"/>
                  <a:pt x="916218" y="104251"/>
                </a:cubicBezTo>
                <a:cubicBezTo>
                  <a:pt x="919572" y="101876"/>
                  <a:pt x="921248" y="99082"/>
                  <a:pt x="921248" y="95869"/>
                </a:cubicBezTo>
                <a:cubicBezTo>
                  <a:pt x="921248" y="90909"/>
                  <a:pt x="917302" y="88430"/>
                  <a:pt x="909408" y="88430"/>
                </a:cubicBezTo>
                <a:lnTo>
                  <a:pt x="899036" y="88430"/>
                </a:lnTo>
                <a:cubicBezTo>
                  <a:pt x="896870" y="88430"/>
                  <a:pt x="894460" y="88115"/>
                  <a:pt x="891806" y="87487"/>
                </a:cubicBezTo>
                <a:close/>
                <a:moveTo>
                  <a:pt x="429472" y="75438"/>
                </a:moveTo>
                <a:cubicBezTo>
                  <a:pt x="431288" y="75438"/>
                  <a:pt x="432824" y="76066"/>
                  <a:pt x="434082" y="77324"/>
                </a:cubicBezTo>
                <a:cubicBezTo>
                  <a:pt x="435340" y="78651"/>
                  <a:pt x="435968" y="80327"/>
                  <a:pt x="435968" y="82353"/>
                </a:cubicBezTo>
                <a:cubicBezTo>
                  <a:pt x="435968" y="84309"/>
                  <a:pt x="435340" y="85915"/>
                  <a:pt x="434082" y="87172"/>
                </a:cubicBezTo>
                <a:cubicBezTo>
                  <a:pt x="432824" y="88430"/>
                  <a:pt x="431288" y="89058"/>
                  <a:pt x="429472" y="89058"/>
                </a:cubicBezTo>
                <a:cubicBezTo>
                  <a:pt x="427726" y="89058"/>
                  <a:pt x="426224" y="88430"/>
                  <a:pt x="424966" y="87172"/>
                </a:cubicBezTo>
                <a:cubicBezTo>
                  <a:pt x="423710" y="85915"/>
                  <a:pt x="423080" y="84309"/>
                  <a:pt x="423080" y="82353"/>
                </a:cubicBezTo>
                <a:cubicBezTo>
                  <a:pt x="423080" y="80327"/>
                  <a:pt x="423710" y="78651"/>
                  <a:pt x="424966" y="77324"/>
                </a:cubicBezTo>
                <a:cubicBezTo>
                  <a:pt x="426224" y="76066"/>
                  <a:pt x="427726" y="75438"/>
                  <a:pt x="429472" y="75438"/>
                </a:cubicBezTo>
                <a:close/>
                <a:moveTo>
                  <a:pt x="335384" y="66846"/>
                </a:moveTo>
                <a:lnTo>
                  <a:pt x="335384" y="83191"/>
                </a:lnTo>
                <a:lnTo>
                  <a:pt x="392172" y="83191"/>
                </a:lnTo>
                <a:lnTo>
                  <a:pt x="392172" y="66846"/>
                </a:lnTo>
                <a:close/>
                <a:moveTo>
                  <a:pt x="856868" y="57731"/>
                </a:moveTo>
                <a:cubicBezTo>
                  <a:pt x="847158" y="58848"/>
                  <a:pt x="840174" y="60629"/>
                  <a:pt x="835914" y="63074"/>
                </a:cubicBezTo>
                <a:cubicBezTo>
                  <a:pt x="832002" y="65449"/>
                  <a:pt x="830046" y="68627"/>
                  <a:pt x="830046" y="72609"/>
                </a:cubicBezTo>
                <a:cubicBezTo>
                  <a:pt x="830046" y="78965"/>
                  <a:pt x="833538" y="82143"/>
                  <a:pt x="840524" y="82143"/>
                </a:cubicBezTo>
                <a:cubicBezTo>
                  <a:pt x="845552" y="82143"/>
                  <a:pt x="851000" y="79524"/>
                  <a:pt x="856868" y="74285"/>
                </a:cubicBezTo>
                <a:close/>
                <a:moveTo>
                  <a:pt x="482440" y="50606"/>
                </a:moveTo>
                <a:lnTo>
                  <a:pt x="482440" y="80781"/>
                </a:lnTo>
                <a:lnTo>
                  <a:pt x="496270" y="80781"/>
                </a:lnTo>
                <a:cubicBezTo>
                  <a:pt x="510870" y="80781"/>
                  <a:pt x="518168" y="75507"/>
                  <a:pt x="518168" y="64960"/>
                </a:cubicBezTo>
                <a:cubicBezTo>
                  <a:pt x="518168" y="55391"/>
                  <a:pt x="510870" y="50606"/>
                  <a:pt x="496270" y="50606"/>
                </a:cubicBezTo>
                <a:close/>
                <a:moveTo>
                  <a:pt x="1220056" y="49977"/>
                </a:moveTo>
                <a:cubicBezTo>
                  <a:pt x="1212652" y="54657"/>
                  <a:pt x="1208950" y="60664"/>
                  <a:pt x="1208950" y="67999"/>
                </a:cubicBezTo>
                <a:cubicBezTo>
                  <a:pt x="1208950" y="72190"/>
                  <a:pt x="1210522" y="75682"/>
                  <a:pt x="1213666" y="78476"/>
                </a:cubicBezTo>
                <a:cubicBezTo>
                  <a:pt x="1216878" y="81270"/>
                  <a:pt x="1220860" y="82667"/>
                  <a:pt x="1225610" y="82667"/>
                </a:cubicBezTo>
                <a:cubicBezTo>
                  <a:pt x="1230150" y="82667"/>
                  <a:pt x="1233886" y="81375"/>
                  <a:pt x="1236820" y="78790"/>
                </a:cubicBezTo>
                <a:cubicBezTo>
                  <a:pt x="1239614" y="76276"/>
                  <a:pt x="1241012" y="73063"/>
                  <a:pt x="1241012" y="69151"/>
                </a:cubicBezTo>
                <a:cubicBezTo>
                  <a:pt x="1241012" y="64401"/>
                  <a:pt x="1238916" y="60420"/>
                  <a:pt x="1234724" y="57207"/>
                </a:cubicBezTo>
                <a:cubicBezTo>
                  <a:pt x="1232140" y="55321"/>
                  <a:pt x="1227250" y="52911"/>
                  <a:pt x="1220056" y="49977"/>
                </a:cubicBezTo>
                <a:close/>
                <a:moveTo>
                  <a:pt x="335384" y="44215"/>
                </a:moveTo>
                <a:lnTo>
                  <a:pt x="335384" y="60350"/>
                </a:lnTo>
                <a:lnTo>
                  <a:pt x="392172" y="60350"/>
                </a:lnTo>
                <a:lnTo>
                  <a:pt x="392172" y="44215"/>
                </a:lnTo>
                <a:close/>
                <a:moveTo>
                  <a:pt x="62130" y="37299"/>
                </a:moveTo>
                <a:cubicBezTo>
                  <a:pt x="64786" y="49942"/>
                  <a:pt x="68662" y="60490"/>
                  <a:pt x="73760" y="68942"/>
                </a:cubicBezTo>
                <a:cubicBezTo>
                  <a:pt x="79558" y="60071"/>
                  <a:pt x="83644" y="49523"/>
                  <a:pt x="86020" y="37299"/>
                </a:cubicBezTo>
                <a:close/>
                <a:moveTo>
                  <a:pt x="961320" y="36880"/>
                </a:moveTo>
                <a:cubicBezTo>
                  <a:pt x="956220" y="36880"/>
                  <a:pt x="952100" y="38976"/>
                  <a:pt x="948956" y="43167"/>
                </a:cubicBezTo>
                <a:cubicBezTo>
                  <a:pt x="945742" y="47288"/>
                  <a:pt x="944136" y="52736"/>
                  <a:pt x="944136" y="59512"/>
                </a:cubicBezTo>
                <a:cubicBezTo>
                  <a:pt x="944136" y="66217"/>
                  <a:pt x="945742" y="71631"/>
                  <a:pt x="948956" y="75752"/>
                </a:cubicBezTo>
                <a:cubicBezTo>
                  <a:pt x="952100" y="79873"/>
                  <a:pt x="956220" y="81934"/>
                  <a:pt x="961320" y="81934"/>
                </a:cubicBezTo>
                <a:cubicBezTo>
                  <a:pt x="966418" y="81934"/>
                  <a:pt x="970574" y="79873"/>
                  <a:pt x="973788" y="75752"/>
                </a:cubicBezTo>
                <a:cubicBezTo>
                  <a:pt x="977000" y="71631"/>
                  <a:pt x="978608" y="66217"/>
                  <a:pt x="978608" y="59512"/>
                </a:cubicBezTo>
                <a:cubicBezTo>
                  <a:pt x="978608" y="52806"/>
                  <a:pt x="977000" y="47358"/>
                  <a:pt x="973788" y="43167"/>
                </a:cubicBezTo>
                <a:cubicBezTo>
                  <a:pt x="970574" y="38976"/>
                  <a:pt x="966418" y="36880"/>
                  <a:pt x="961320" y="36880"/>
                </a:cubicBezTo>
                <a:close/>
                <a:moveTo>
                  <a:pt x="655890" y="36566"/>
                </a:moveTo>
                <a:cubicBezTo>
                  <a:pt x="651560" y="36566"/>
                  <a:pt x="647822" y="38173"/>
                  <a:pt x="644680" y="41386"/>
                </a:cubicBezTo>
                <a:cubicBezTo>
                  <a:pt x="641396" y="44808"/>
                  <a:pt x="639476" y="49384"/>
                  <a:pt x="638918" y="55111"/>
                </a:cubicBezTo>
                <a:lnTo>
                  <a:pt x="670560" y="55111"/>
                </a:lnTo>
                <a:cubicBezTo>
                  <a:pt x="670560" y="42748"/>
                  <a:pt x="665670" y="36566"/>
                  <a:pt x="655890" y="36566"/>
                </a:cubicBezTo>
                <a:close/>
                <a:moveTo>
                  <a:pt x="901236" y="36042"/>
                </a:moveTo>
                <a:cubicBezTo>
                  <a:pt x="897604" y="36042"/>
                  <a:pt x="894600" y="37265"/>
                  <a:pt x="892224" y="39709"/>
                </a:cubicBezTo>
                <a:cubicBezTo>
                  <a:pt x="889780" y="42224"/>
                  <a:pt x="888558" y="45612"/>
                  <a:pt x="888558" y="49872"/>
                </a:cubicBezTo>
                <a:cubicBezTo>
                  <a:pt x="888558" y="53994"/>
                  <a:pt x="889816" y="57381"/>
                  <a:pt x="892330" y="60036"/>
                </a:cubicBezTo>
                <a:cubicBezTo>
                  <a:pt x="894774" y="62620"/>
                  <a:pt x="897744" y="63912"/>
                  <a:pt x="901236" y="63912"/>
                </a:cubicBezTo>
                <a:cubicBezTo>
                  <a:pt x="904728" y="63912"/>
                  <a:pt x="907696" y="62620"/>
                  <a:pt x="910142" y="60036"/>
                </a:cubicBezTo>
                <a:cubicBezTo>
                  <a:pt x="912656" y="57381"/>
                  <a:pt x="913914" y="53994"/>
                  <a:pt x="913914" y="49872"/>
                </a:cubicBezTo>
                <a:cubicBezTo>
                  <a:pt x="913914" y="45681"/>
                  <a:pt x="912656" y="42294"/>
                  <a:pt x="910142" y="39709"/>
                </a:cubicBezTo>
                <a:cubicBezTo>
                  <a:pt x="907766" y="37265"/>
                  <a:pt x="904798" y="36042"/>
                  <a:pt x="901236" y="36042"/>
                </a:cubicBezTo>
                <a:close/>
                <a:moveTo>
                  <a:pt x="429472" y="32689"/>
                </a:moveTo>
                <a:cubicBezTo>
                  <a:pt x="431288" y="32689"/>
                  <a:pt x="432824" y="33318"/>
                  <a:pt x="434082" y="34575"/>
                </a:cubicBezTo>
                <a:cubicBezTo>
                  <a:pt x="435340" y="35902"/>
                  <a:pt x="435968" y="37579"/>
                  <a:pt x="435968" y="39605"/>
                </a:cubicBezTo>
                <a:cubicBezTo>
                  <a:pt x="435968" y="41560"/>
                  <a:pt x="435340" y="43167"/>
                  <a:pt x="434082" y="44424"/>
                </a:cubicBezTo>
                <a:cubicBezTo>
                  <a:pt x="432824" y="45681"/>
                  <a:pt x="431288" y="46310"/>
                  <a:pt x="429472" y="46310"/>
                </a:cubicBezTo>
                <a:cubicBezTo>
                  <a:pt x="427726" y="46310"/>
                  <a:pt x="426224" y="45681"/>
                  <a:pt x="424966" y="44424"/>
                </a:cubicBezTo>
                <a:cubicBezTo>
                  <a:pt x="423710" y="43167"/>
                  <a:pt x="423080" y="41560"/>
                  <a:pt x="423080" y="39605"/>
                </a:cubicBezTo>
                <a:cubicBezTo>
                  <a:pt x="423080" y="37579"/>
                  <a:pt x="423710" y="35902"/>
                  <a:pt x="424966" y="34575"/>
                </a:cubicBezTo>
                <a:cubicBezTo>
                  <a:pt x="426224" y="33318"/>
                  <a:pt x="427726" y="32689"/>
                  <a:pt x="429472" y="32689"/>
                </a:cubicBezTo>
                <a:close/>
                <a:moveTo>
                  <a:pt x="1121644" y="31118"/>
                </a:moveTo>
                <a:lnTo>
                  <a:pt x="1130550" y="31118"/>
                </a:lnTo>
                <a:lnTo>
                  <a:pt x="1142600" y="63493"/>
                </a:lnTo>
                <a:lnTo>
                  <a:pt x="1148258" y="79419"/>
                </a:lnTo>
                <a:lnTo>
                  <a:pt x="1148780" y="79419"/>
                </a:lnTo>
                <a:cubicBezTo>
                  <a:pt x="1149130" y="78371"/>
                  <a:pt x="1149934" y="75682"/>
                  <a:pt x="1151190" y="71351"/>
                </a:cubicBezTo>
                <a:cubicBezTo>
                  <a:pt x="1152168" y="67999"/>
                  <a:pt x="1152972" y="65379"/>
                  <a:pt x="1153600" y="63493"/>
                </a:cubicBezTo>
                <a:lnTo>
                  <a:pt x="1164182" y="31118"/>
                </a:lnTo>
                <a:lnTo>
                  <a:pt x="1172564" y="31118"/>
                </a:lnTo>
                <a:lnTo>
                  <a:pt x="1150982" y="92935"/>
                </a:lnTo>
                <a:cubicBezTo>
                  <a:pt x="1146440" y="105927"/>
                  <a:pt x="1139560" y="112423"/>
                  <a:pt x="1130340" y="112423"/>
                </a:cubicBezTo>
                <a:cubicBezTo>
                  <a:pt x="1127896" y="112423"/>
                  <a:pt x="1125730" y="112039"/>
                  <a:pt x="1123844" y="111271"/>
                </a:cubicBezTo>
                <a:lnTo>
                  <a:pt x="1125626" y="104355"/>
                </a:lnTo>
                <a:cubicBezTo>
                  <a:pt x="1127162" y="104914"/>
                  <a:pt x="1128630" y="105194"/>
                  <a:pt x="1130026" y="105194"/>
                </a:cubicBezTo>
                <a:cubicBezTo>
                  <a:pt x="1135894" y="105194"/>
                  <a:pt x="1140294" y="100933"/>
                  <a:pt x="1143228" y="92411"/>
                </a:cubicBezTo>
                <a:lnTo>
                  <a:pt x="1144486" y="88011"/>
                </a:lnTo>
                <a:close/>
                <a:moveTo>
                  <a:pt x="567422" y="31118"/>
                </a:moveTo>
                <a:lnTo>
                  <a:pt x="575910" y="31118"/>
                </a:lnTo>
                <a:lnTo>
                  <a:pt x="575910" y="66008"/>
                </a:lnTo>
                <a:cubicBezTo>
                  <a:pt x="575910" y="71456"/>
                  <a:pt x="576782" y="75403"/>
                  <a:pt x="578528" y="77847"/>
                </a:cubicBezTo>
                <a:cubicBezTo>
                  <a:pt x="580274" y="80362"/>
                  <a:pt x="583138" y="81619"/>
                  <a:pt x="587120" y="81619"/>
                </a:cubicBezTo>
                <a:cubicBezTo>
                  <a:pt x="592290" y="81619"/>
                  <a:pt x="597598" y="78301"/>
                  <a:pt x="603046" y="71666"/>
                </a:cubicBezTo>
                <a:lnTo>
                  <a:pt x="603046" y="31118"/>
                </a:lnTo>
                <a:lnTo>
                  <a:pt x="611532" y="31118"/>
                </a:lnTo>
                <a:lnTo>
                  <a:pt x="611532" y="87696"/>
                </a:lnTo>
                <a:lnTo>
                  <a:pt x="604512" y="87696"/>
                </a:lnTo>
                <a:lnTo>
                  <a:pt x="603780" y="78686"/>
                </a:lnTo>
                <a:lnTo>
                  <a:pt x="603466" y="78686"/>
                </a:lnTo>
                <a:cubicBezTo>
                  <a:pt x="597458" y="85601"/>
                  <a:pt x="591172" y="89058"/>
                  <a:pt x="584606" y="89058"/>
                </a:cubicBezTo>
                <a:cubicBezTo>
                  <a:pt x="573150" y="89058"/>
                  <a:pt x="567422" y="81724"/>
                  <a:pt x="567422" y="67056"/>
                </a:cubicBezTo>
                <a:close/>
                <a:moveTo>
                  <a:pt x="1033548" y="29651"/>
                </a:moveTo>
                <a:cubicBezTo>
                  <a:pt x="1045072" y="29651"/>
                  <a:pt x="1050836" y="37020"/>
                  <a:pt x="1050836" y="51758"/>
                </a:cubicBezTo>
                <a:lnTo>
                  <a:pt x="1050836" y="87696"/>
                </a:lnTo>
                <a:lnTo>
                  <a:pt x="1042244" y="87696"/>
                </a:lnTo>
                <a:lnTo>
                  <a:pt x="1042244" y="52806"/>
                </a:lnTo>
                <a:cubicBezTo>
                  <a:pt x="1042244" y="42329"/>
                  <a:pt x="1038506" y="37090"/>
                  <a:pt x="1031032" y="37090"/>
                </a:cubicBezTo>
                <a:cubicBezTo>
                  <a:pt x="1026214" y="37090"/>
                  <a:pt x="1020834" y="40163"/>
                  <a:pt x="1014898" y="46310"/>
                </a:cubicBezTo>
                <a:lnTo>
                  <a:pt x="1014898" y="87696"/>
                </a:lnTo>
                <a:lnTo>
                  <a:pt x="1006410" y="87696"/>
                </a:lnTo>
                <a:lnTo>
                  <a:pt x="1006410" y="31118"/>
                </a:lnTo>
                <a:lnTo>
                  <a:pt x="1013326" y="31118"/>
                </a:lnTo>
                <a:lnTo>
                  <a:pt x="1014164" y="39395"/>
                </a:lnTo>
                <a:lnTo>
                  <a:pt x="1014478" y="39395"/>
                </a:lnTo>
                <a:cubicBezTo>
                  <a:pt x="1021114" y="32899"/>
                  <a:pt x="1027470" y="29651"/>
                  <a:pt x="1033548" y="29651"/>
                </a:cubicBezTo>
                <a:close/>
                <a:moveTo>
                  <a:pt x="961320" y="29651"/>
                </a:moveTo>
                <a:cubicBezTo>
                  <a:pt x="968584" y="29651"/>
                  <a:pt x="974660" y="32270"/>
                  <a:pt x="979550" y="37509"/>
                </a:cubicBezTo>
                <a:cubicBezTo>
                  <a:pt x="984788" y="43027"/>
                  <a:pt x="987408" y="50361"/>
                  <a:pt x="987408" y="59512"/>
                </a:cubicBezTo>
                <a:cubicBezTo>
                  <a:pt x="987408" y="68522"/>
                  <a:pt x="984788" y="75787"/>
                  <a:pt x="979550" y="81305"/>
                </a:cubicBezTo>
                <a:cubicBezTo>
                  <a:pt x="974660" y="86474"/>
                  <a:pt x="968584" y="89058"/>
                  <a:pt x="961320" y="89058"/>
                </a:cubicBezTo>
                <a:cubicBezTo>
                  <a:pt x="954124" y="89058"/>
                  <a:pt x="948082" y="86474"/>
                  <a:pt x="943194" y="81305"/>
                </a:cubicBezTo>
                <a:cubicBezTo>
                  <a:pt x="937954" y="75787"/>
                  <a:pt x="935334" y="68522"/>
                  <a:pt x="935334" y="59512"/>
                </a:cubicBezTo>
                <a:cubicBezTo>
                  <a:pt x="935334" y="50361"/>
                  <a:pt x="937954" y="43027"/>
                  <a:pt x="943194" y="37509"/>
                </a:cubicBezTo>
                <a:cubicBezTo>
                  <a:pt x="948012" y="32270"/>
                  <a:pt x="954054" y="29651"/>
                  <a:pt x="961320" y="29651"/>
                </a:cubicBezTo>
                <a:close/>
                <a:moveTo>
                  <a:pt x="901236" y="29651"/>
                </a:moveTo>
                <a:cubicBezTo>
                  <a:pt x="903820" y="29651"/>
                  <a:pt x="906440" y="30140"/>
                  <a:pt x="909094" y="31118"/>
                </a:cubicBezTo>
                <a:lnTo>
                  <a:pt x="928686" y="31118"/>
                </a:lnTo>
                <a:lnTo>
                  <a:pt x="928686" y="37719"/>
                </a:lnTo>
                <a:lnTo>
                  <a:pt x="916742" y="37719"/>
                </a:lnTo>
                <a:cubicBezTo>
                  <a:pt x="920026" y="40862"/>
                  <a:pt x="921666" y="44948"/>
                  <a:pt x="921666" y="49977"/>
                </a:cubicBezTo>
                <a:cubicBezTo>
                  <a:pt x="921666" y="55914"/>
                  <a:pt x="919676" y="60734"/>
                  <a:pt x="915694" y="64436"/>
                </a:cubicBezTo>
                <a:cubicBezTo>
                  <a:pt x="911852" y="67999"/>
                  <a:pt x="907034" y="69780"/>
                  <a:pt x="901236" y="69780"/>
                </a:cubicBezTo>
                <a:cubicBezTo>
                  <a:pt x="898092" y="69780"/>
                  <a:pt x="895194" y="69081"/>
                  <a:pt x="892540" y="67684"/>
                </a:cubicBezTo>
                <a:cubicBezTo>
                  <a:pt x="890024" y="69850"/>
                  <a:pt x="888768" y="72224"/>
                  <a:pt x="888768" y="74809"/>
                </a:cubicBezTo>
                <a:cubicBezTo>
                  <a:pt x="888768" y="79070"/>
                  <a:pt x="892120" y="81200"/>
                  <a:pt x="898826" y="81200"/>
                </a:cubicBezTo>
                <a:lnTo>
                  <a:pt x="910142" y="81200"/>
                </a:lnTo>
                <a:cubicBezTo>
                  <a:pt x="923134" y="81200"/>
                  <a:pt x="929630" y="85671"/>
                  <a:pt x="929630" y="94611"/>
                </a:cubicBezTo>
                <a:cubicBezTo>
                  <a:pt x="929630" y="99920"/>
                  <a:pt x="927080" y="104425"/>
                  <a:pt x="921982" y="108127"/>
                </a:cubicBezTo>
                <a:cubicBezTo>
                  <a:pt x="916602" y="112039"/>
                  <a:pt x="909758" y="113995"/>
                  <a:pt x="901446" y="113995"/>
                </a:cubicBezTo>
                <a:cubicBezTo>
                  <a:pt x="894390" y="113995"/>
                  <a:pt x="888768" y="112668"/>
                  <a:pt x="884576" y="110013"/>
                </a:cubicBezTo>
                <a:cubicBezTo>
                  <a:pt x="880246" y="107289"/>
                  <a:pt x="878080" y="103517"/>
                  <a:pt x="878080" y="98698"/>
                </a:cubicBezTo>
                <a:cubicBezTo>
                  <a:pt x="878080" y="93738"/>
                  <a:pt x="880874" y="89408"/>
                  <a:pt x="886462" y="85706"/>
                </a:cubicBezTo>
                <a:lnTo>
                  <a:pt x="886462" y="85286"/>
                </a:lnTo>
                <a:cubicBezTo>
                  <a:pt x="883040" y="83191"/>
                  <a:pt x="881328" y="80083"/>
                  <a:pt x="881328" y="75961"/>
                </a:cubicBezTo>
                <a:cubicBezTo>
                  <a:pt x="881328" y="72050"/>
                  <a:pt x="883424" y="68557"/>
                  <a:pt x="887614" y="65484"/>
                </a:cubicBezTo>
                <a:lnTo>
                  <a:pt x="887614" y="65065"/>
                </a:lnTo>
                <a:cubicBezTo>
                  <a:pt x="882726" y="61153"/>
                  <a:pt x="880280" y="56089"/>
                  <a:pt x="880280" y="49872"/>
                </a:cubicBezTo>
                <a:cubicBezTo>
                  <a:pt x="880280" y="43865"/>
                  <a:pt x="882342" y="38976"/>
                  <a:pt x="886462" y="35204"/>
                </a:cubicBezTo>
                <a:cubicBezTo>
                  <a:pt x="890444" y="31502"/>
                  <a:pt x="895368" y="29651"/>
                  <a:pt x="901236" y="29651"/>
                </a:cubicBezTo>
                <a:close/>
                <a:moveTo>
                  <a:pt x="846182" y="29651"/>
                </a:moveTo>
                <a:cubicBezTo>
                  <a:pt x="858964" y="29651"/>
                  <a:pt x="865354" y="37299"/>
                  <a:pt x="865354" y="52597"/>
                </a:cubicBezTo>
                <a:lnTo>
                  <a:pt x="865354" y="87696"/>
                </a:lnTo>
                <a:lnTo>
                  <a:pt x="858334" y="87696"/>
                </a:lnTo>
                <a:lnTo>
                  <a:pt x="857602" y="80781"/>
                </a:lnTo>
                <a:lnTo>
                  <a:pt x="857288" y="80781"/>
                </a:lnTo>
                <a:cubicBezTo>
                  <a:pt x="850792" y="86299"/>
                  <a:pt x="844434" y="89058"/>
                  <a:pt x="838218" y="89058"/>
                </a:cubicBezTo>
                <a:cubicBezTo>
                  <a:pt x="833398" y="89058"/>
                  <a:pt x="829486" y="87696"/>
                  <a:pt x="826484" y="84972"/>
                </a:cubicBezTo>
                <a:cubicBezTo>
                  <a:pt x="823340" y="82038"/>
                  <a:pt x="821768" y="78092"/>
                  <a:pt x="821768" y="73133"/>
                </a:cubicBezTo>
                <a:cubicBezTo>
                  <a:pt x="821768" y="66986"/>
                  <a:pt x="824598" y="62236"/>
                  <a:pt x="830256" y="58883"/>
                </a:cubicBezTo>
                <a:cubicBezTo>
                  <a:pt x="835704" y="55670"/>
                  <a:pt x="844574" y="53365"/>
                  <a:pt x="856868" y="51968"/>
                </a:cubicBezTo>
                <a:cubicBezTo>
                  <a:pt x="857008" y="41840"/>
                  <a:pt x="852992" y="36776"/>
                  <a:pt x="844818" y="36776"/>
                </a:cubicBezTo>
                <a:cubicBezTo>
                  <a:pt x="839300" y="36776"/>
                  <a:pt x="833574" y="38871"/>
                  <a:pt x="827636" y="43062"/>
                </a:cubicBezTo>
                <a:lnTo>
                  <a:pt x="824178" y="37090"/>
                </a:lnTo>
                <a:cubicBezTo>
                  <a:pt x="831722" y="32131"/>
                  <a:pt x="839056" y="29651"/>
                  <a:pt x="846182" y="29651"/>
                </a:cubicBezTo>
                <a:close/>
                <a:moveTo>
                  <a:pt x="811434" y="29651"/>
                </a:moveTo>
                <a:cubicBezTo>
                  <a:pt x="813738" y="29651"/>
                  <a:pt x="815730" y="30070"/>
                  <a:pt x="817406" y="30908"/>
                </a:cubicBezTo>
                <a:lnTo>
                  <a:pt x="815730" y="38347"/>
                </a:lnTo>
                <a:cubicBezTo>
                  <a:pt x="813844" y="37719"/>
                  <a:pt x="812062" y="37404"/>
                  <a:pt x="810386" y="37404"/>
                </a:cubicBezTo>
                <a:cubicBezTo>
                  <a:pt x="804170" y="37404"/>
                  <a:pt x="799314" y="41875"/>
                  <a:pt x="795822" y="50815"/>
                </a:cubicBezTo>
                <a:lnTo>
                  <a:pt x="795822" y="87696"/>
                </a:lnTo>
                <a:lnTo>
                  <a:pt x="787336" y="87696"/>
                </a:lnTo>
                <a:lnTo>
                  <a:pt x="787336" y="31118"/>
                </a:lnTo>
                <a:lnTo>
                  <a:pt x="794250" y="31118"/>
                </a:lnTo>
                <a:lnTo>
                  <a:pt x="795090" y="41490"/>
                </a:lnTo>
                <a:lnTo>
                  <a:pt x="795404" y="41490"/>
                </a:lnTo>
                <a:cubicBezTo>
                  <a:pt x="799664" y="33597"/>
                  <a:pt x="805008" y="29651"/>
                  <a:pt x="811434" y="29651"/>
                </a:cubicBezTo>
                <a:close/>
                <a:moveTo>
                  <a:pt x="655786" y="29651"/>
                </a:moveTo>
                <a:cubicBezTo>
                  <a:pt x="662840" y="29651"/>
                  <a:pt x="668324" y="32026"/>
                  <a:pt x="672236" y="36776"/>
                </a:cubicBezTo>
                <a:cubicBezTo>
                  <a:pt x="676148" y="41456"/>
                  <a:pt x="678102" y="47917"/>
                  <a:pt x="678102" y="56159"/>
                </a:cubicBezTo>
                <a:cubicBezTo>
                  <a:pt x="678102" y="58394"/>
                  <a:pt x="677964" y="60105"/>
                  <a:pt x="677684" y="61293"/>
                </a:cubicBezTo>
                <a:lnTo>
                  <a:pt x="639022" y="61293"/>
                </a:lnTo>
                <a:cubicBezTo>
                  <a:pt x="639302" y="67579"/>
                  <a:pt x="641188" y="72644"/>
                  <a:pt x="644680" y="76485"/>
                </a:cubicBezTo>
                <a:cubicBezTo>
                  <a:pt x="648172" y="80327"/>
                  <a:pt x="652748" y="82248"/>
                  <a:pt x="658406" y="82248"/>
                </a:cubicBezTo>
                <a:cubicBezTo>
                  <a:pt x="663434" y="82248"/>
                  <a:pt x="668220" y="80711"/>
                  <a:pt x="672760" y="77638"/>
                </a:cubicBezTo>
                <a:lnTo>
                  <a:pt x="675902" y="83296"/>
                </a:lnTo>
                <a:cubicBezTo>
                  <a:pt x="669896" y="87137"/>
                  <a:pt x="663714" y="89058"/>
                  <a:pt x="657358" y="89058"/>
                </a:cubicBezTo>
                <a:cubicBezTo>
                  <a:pt x="649674" y="89058"/>
                  <a:pt x="643352" y="86439"/>
                  <a:pt x="638394" y="81200"/>
                </a:cubicBezTo>
                <a:cubicBezTo>
                  <a:pt x="633154" y="75752"/>
                  <a:pt x="630536" y="68522"/>
                  <a:pt x="630536" y="59512"/>
                </a:cubicBezTo>
                <a:cubicBezTo>
                  <a:pt x="630536" y="50641"/>
                  <a:pt x="633120" y="43341"/>
                  <a:pt x="638288" y="37614"/>
                </a:cubicBezTo>
                <a:cubicBezTo>
                  <a:pt x="643178" y="32305"/>
                  <a:pt x="649010" y="29651"/>
                  <a:pt x="655786" y="29651"/>
                </a:cubicBezTo>
                <a:close/>
                <a:moveTo>
                  <a:pt x="231970" y="22526"/>
                </a:moveTo>
                <a:cubicBezTo>
                  <a:pt x="237140" y="29791"/>
                  <a:pt x="240528" y="36391"/>
                  <a:pt x="242134" y="42329"/>
                </a:cubicBezTo>
                <a:lnTo>
                  <a:pt x="235638" y="44948"/>
                </a:lnTo>
                <a:cubicBezTo>
                  <a:pt x="233892" y="38662"/>
                  <a:pt x="230678" y="31956"/>
                  <a:pt x="225998" y="24831"/>
                </a:cubicBezTo>
                <a:close/>
                <a:moveTo>
                  <a:pt x="285406" y="22002"/>
                </a:moveTo>
                <a:lnTo>
                  <a:pt x="292636" y="24412"/>
                </a:lnTo>
                <a:cubicBezTo>
                  <a:pt x="288026" y="33353"/>
                  <a:pt x="283974" y="40303"/>
                  <a:pt x="280482" y="45262"/>
                </a:cubicBezTo>
                <a:lnTo>
                  <a:pt x="274614" y="43167"/>
                </a:lnTo>
                <a:cubicBezTo>
                  <a:pt x="279084" y="36252"/>
                  <a:pt x="282682" y="29197"/>
                  <a:pt x="285406" y="22002"/>
                </a:cubicBezTo>
                <a:close/>
                <a:moveTo>
                  <a:pt x="335384" y="21164"/>
                </a:moveTo>
                <a:lnTo>
                  <a:pt x="335384" y="37719"/>
                </a:lnTo>
                <a:lnTo>
                  <a:pt x="392172" y="37719"/>
                </a:lnTo>
                <a:lnTo>
                  <a:pt x="392172" y="21164"/>
                </a:lnTo>
                <a:close/>
                <a:moveTo>
                  <a:pt x="1289360" y="20955"/>
                </a:moveTo>
                <a:cubicBezTo>
                  <a:pt x="1287754" y="24098"/>
                  <a:pt x="1285728" y="27800"/>
                  <a:pt x="1283284" y="32061"/>
                </a:cubicBezTo>
                <a:lnTo>
                  <a:pt x="1264738" y="59512"/>
                </a:lnTo>
                <a:lnTo>
                  <a:pt x="1289256" y="59512"/>
                </a:lnTo>
                <a:lnTo>
                  <a:pt x="1289256" y="34575"/>
                </a:lnTo>
                <a:cubicBezTo>
                  <a:pt x="1289256" y="30524"/>
                  <a:pt x="1289466" y="25984"/>
                  <a:pt x="1289884" y="20955"/>
                </a:cubicBezTo>
                <a:close/>
                <a:moveTo>
                  <a:pt x="1625440" y="18126"/>
                </a:moveTo>
                <a:lnTo>
                  <a:pt x="1625440" y="80572"/>
                </a:lnTo>
                <a:lnTo>
                  <a:pt x="1634870" y="80572"/>
                </a:lnTo>
                <a:cubicBezTo>
                  <a:pt x="1644020" y="80572"/>
                  <a:pt x="1650970" y="77778"/>
                  <a:pt x="1655720" y="72190"/>
                </a:cubicBezTo>
                <a:cubicBezTo>
                  <a:pt x="1660260" y="66741"/>
                  <a:pt x="1662530" y="59023"/>
                  <a:pt x="1662530" y="49034"/>
                </a:cubicBezTo>
                <a:cubicBezTo>
                  <a:pt x="1662530" y="28429"/>
                  <a:pt x="1653310" y="18126"/>
                  <a:pt x="1634870" y="18126"/>
                </a:cubicBezTo>
                <a:close/>
                <a:moveTo>
                  <a:pt x="720566" y="18126"/>
                </a:moveTo>
                <a:lnTo>
                  <a:pt x="720566" y="80572"/>
                </a:lnTo>
                <a:lnTo>
                  <a:pt x="729996" y="80572"/>
                </a:lnTo>
                <a:cubicBezTo>
                  <a:pt x="739146" y="80572"/>
                  <a:pt x="746096" y="77778"/>
                  <a:pt x="750846" y="72190"/>
                </a:cubicBezTo>
                <a:cubicBezTo>
                  <a:pt x="755386" y="66741"/>
                  <a:pt x="757656" y="59023"/>
                  <a:pt x="757656" y="49034"/>
                </a:cubicBezTo>
                <a:cubicBezTo>
                  <a:pt x="757656" y="28429"/>
                  <a:pt x="748436" y="18126"/>
                  <a:pt x="729996" y="18126"/>
                </a:cubicBezTo>
                <a:close/>
                <a:moveTo>
                  <a:pt x="482440" y="17916"/>
                </a:moveTo>
                <a:lnTo>
                  <a:pt x="482440" y="43900"/>
                </a:lnTo>
                <a:lnTo>
                  <a:pt x="494176" y="43900"/>
                </a:lnTo>
                <a:cubicBezTo>
                  <a:pt x="507098" y="43900"/>
                  <a:pt x="513558" y="39535"/>
                  <a:pt x="513558" y="30803"/>
                </a:cubicBezTo>
                <a:cubicBezTo>
                  <a:pt x="513558" y="26193"/>
                  <a:pt x="511986" y="22875"/>
                  <a:pt x="508844" y="20850"/>
                </a:cubicBezTo>
                <a:cubicBezTo>
                  <a:pt x="505840" y="18894"/>
                  <a:pt x="501126" y="17916"/>
                  <a:pt x="494700" y="17916"/>
                </a:cubicBezTo>
                <a:close/>
                <a:moveTo>
                  <a:pt x="155694" y="16659"/>
                </a:moveTo>
                <a:cubicBezTo>
                  <a:pt x="159048" y="36077"/>
                  <a:pt x="164636" y="51549"/>
                  <a:pt x="172458" y="63074"/>
                </a:cubicBezTo>
                <a:cubicBezTo>
                  <a:pt x="181540" y="50431"/>
                  <a:pt x="187756" y="34959"/>
                  <a:pt x="191108" y="16659"/>
                </a:cubicBezTo>
                <a:close/>
                <a:moveTo>
                  <a:pt x="1556156" y="16344"/>
                </a:moveTo>
                <a:cubicBezTo>
                  <a:pt x="1552314" y="16344"/>
                  <a:pt x="1549136" y="18021"/>
                  <a:pt x="1546622" y="21374"/>
                </a:cubicBezTo>
                <a:cubicBezTo>
                  <a:pt x="1544036" y="24726"/>
                  <a:pt x="1542744" y="29057"/>
                  <a:pt x="1542744" y="34366"/>
                </a:cubicBezTo>
                <a:cubicBezTo>
                  <a:pt x="1542744" y="39814"/>
                  <a:pt x="1543896" y="44075"/>
                  <a:pt x="1546202" y="47148"/>
                </a:cubicBezTo>
                <a:cubicBezTo>
                  <a:pt x="1548716" y="50431"/>
                  <a:pt x="1552278" y="52073"/>
                  <a:pt x="1556890" y="52073"/>
                </a:cubicBezTo>
                <a:cubicBezTo>
                  <a:pt x="1562896" y="52073"/>
                  <a:pt x="1568414" y="48545"/>
                  <a:pt x="1573444" y="41490"/>
                </a:cubicBezTo>
                <a:cubicBezTo>
                  <a:pt x="1572536" y="24726"/>
                  <a:pt x="1566772" y="16344"/>
                  <a:pt x="1556156" y="16344"/>
                </a:cubicBezTo>
                <a:close/>
                <a:moveTo>
                  <a:pt x="1225504" y="16344"/>
                </a:moveTo>
                <a:cubicBezTo>
                  <a:pt x="1221872" y="16344"/>
                  <a:pt x="1218868" y="17532"/>
                  <a:pt x="1216494" y="19907"/>
                </a:cubicBezTo>
                <a:cubicBezTo>
                  <a:pt x="1214120" y="22352"/>
                  <a:pt x="1212932" y="25460"/>
                  <a:pt x="1212932" y="29232"/>
                </a:cubicBezTo>
                <a:cubicBezTo>
                  <a:pt x="1212932" y="33493"/>
                  <a:pt x="1214748" y="37090"/>
                  <a:pt x="1218380" y="40024"/>
                </a:cubicBezTo>
                <a:cubicBezTo>
                  <a:pt x="1220894" y="42049"/>
                  <a:pt x="1225016" y="44180"/>
                  <a:pt x="1230744" y="46415"/>
                </a:cubicBezTo>
                <a:cubicBezTo>
                  <a:pt x="1236332" y="41665"/>
                  <a:pt x="1239126" y="36356"/>
                  <a:pt x="1239126" y="30489"/>
                </a:cubicBezTo>
                <a:cubicBezTo>
                  <a:pt x="1239126" y="26438"/>
                  <a:pt x="1237938" y="23120"/>
                  <a:pt x="1235564" y="20535"/>
                </a:cubicBezTo>
                <a:cubicBezTo>
                  <a:pt x="1233048" y="17741"/>
                  <a:pt x="1229696" y="16344"/>
                  <a:pt x="1225504" y="16344"/>
                </a:cubicBezTo>
                <a:close/>
                <a:moveTo>
                  <a:pt x="1912018" y="11001"/>
                </a:moveTo>
                <a:lnTo>
                  <a:pt x="1920926" y="11001"/>
                </a:lnTo>
                <a:lnTo>
                  <a:pt x="1949948" y="60664"/>
                </a:lnTo>
                <a:lnTo>
                  <a:pt x="1958226" y="76381"/>
                </a:lnTo>
                <a:lnTo>
                  <a:pt x="1958748" y="76381"/>
                </a:lnTo>
                <a:cubicBezTo>
                  <a:pt x="1957980" y="65135"/>
                  <a:pt x="1957596" y="57172"/>
                  <a:pt x="1957596" y="52492"/>
                </a:cubicBezTo>
                <a:lnTo>
                  <a:pt x="1957596" y="11001"/>
                </a:lnTo>
                <a:lnTo>
                  <a:pt x="1965874" y="11001"/>
                </a:lnTo>
                <a:lnTo>
                  <a:pt x="1965874" y="87696"/>
                </a:lnTo>
                <a:lnTo>
                  <a:pt x="1956862" y="87696"/>
                </a:lnTo>
                <a:lnTo>
                  <a:pt x="1928050" y="38033"/>
                </a:lnTo>
                <a:lnTo>
                  <a:pt x="1919668" y="22317"/>
                </a:lnTo>
                <a:lnTo>
                  <a:pt x="1919144" y="22317"/>
                </a:lnTo>
                <a:cubicBezTo>
                  <a:pt x="1919842" y="35029"/>
                  <a:pt x="1920192" y="42818"/>
                  <a:pt x="1920192" y="45681"/>
                </a:cubicBezTo>
                <a:lnTo>
                  <a:pt x="1920192" y="87696"/>
                </a:lnTo>
                <a:lnTo>
                  <a:pt x="1912018" y="87696"/>
                </a:lnTo>
                <a:close/>
                <a:moveTo>
                  <a:pt x="1807244" y="11001"/>
                </a:moveTo>
                <a:lnTo>
                  <a:pt x="1815940" y="11001"/>
                </a:lnTo>
                <a:lnTo>
                  <a:pt x="1815940" y="87696"/>
                </a:lnTo>
                <a:lnTo>
                  <a:pt x="1807244" y="87696"/>
                </a:lnTo>
                <a:close/>
                <a:moveTo>
                  <a:pt x="1692944" y="11001"/>
                </a:moveTo>
                <a:lnTo>
                  <a:pt x="1736636" y="11001"/>
                </a:lnTo>
                <a:lnTo>
                  <a:pt x="1736636" y="18335"/>
                </a:lnTo>
                <a:lnTo>
                  <a:pt x="1701640" y="18335"/>
                </a:lnTo>
                <a:lnTo>
                  <a:pt x="1701640" y="43586"/>
                </a:lnTo>
                <a:lnTo>
                  <a:pt x="1731082" y="43586"/>
                </a:lnTo>
                <a:lnTo>
                  <a:pt x="1731082" y="50920"/>
                </a:lnTo>
                <a:lnTo>
                  <a:pt x="1701640" y="50920"/>
                </a:lnTo>
                <a:lnTo>
                  <a:pt x="1701640" y="80362"/>
                </a:lnTo>
                <a:lnTo>
                  <a:pt x="1737788" y="80362"/>
                </a:lnTo>
                <a:lnTo>
                  <a:pt x="1737788" y="87696"/>
                </a:lnTo>
                <a:lnTo>
                  <a:pt x="1692944" y="87696"/>
                </a:lnTo>
                <a:close/>
                <a:moveTo>
                  <a:pt x="1616744" y="11001"/>
                </a:moveTo>
                <a:lnTo>
                  <a:pt x="1635604" y="11001"/>
                </a:lnTo>
                <a:cubicBezTo>
                  <a:pt x="1647268" y="11001"/>
                  <a:pt x="1656174" y="14319"/>
                  <a:pt x="1662322" y="20955"/>
                </a:cubicBezTo>
                <a:cubicBezTo>
                  <a:pt x="1668398" y="27520"/>
                  <a:pt x="1671436" y="36880"/>
                  <a:pt x="1671436" y="49034"/>
                </a:cubicBezTo>
                <a:cubicBezTo>
                  <a:pt x="1671436" y="61258"/>
                  <a:pt x="1668434" y="70723"/>
                  <a:pt x="1662426" y="77428"/>
                </a:cubicBezTo>
                <a:cubicBezTo>
                  <a:pt x="1656280" y="84274"/>
                  <a:pt x="1647442" y="87696"/>
                  <a:pt x="1635918" y="87696"/>
                </a:cubicBezTo>
                <a:lnTo>
                  <a:pt x="1616744" y="87696"/>
                </a:lnTo>
                <a:close/>
                <a:moveTo>
                  <a:pt x="1484232" y="11001"/>
                </a:moveTo>
                <a:lnTo>
                  <a:pt x="1520904" y="11001"/>
                </a:lnTo>
                <a:lnTo>
                  <a:pt x="1520904" y="18335"/>
                </a:lnTo>
                <a:lnTo>
                  <a:pt x="1491776" y="18335"/>
                </a:lnTo>
                <a:lnTo>
                  <a:pt x="1489680" y="41595"/>
                </a:lnTo>
                <a:cubicBezTo>
                  <a:pt x="1493522" y="39430"/>
                  <a:pt x="1497504" y="38347"/>
                  <a:pt x="1501624" y="38347"/>
                </a:cubicBezTo>
                <a:cubicBezTo>
                  <a:pt x="1508400" y="38347"/>
                  <a:pt x="1513814" y="40303"/>
                  <a:pt x="1517866" y="44215"/>
                </a:cubicBezTo>
                <a:cubicBezTo>
                  <a:pt x="1522336" y="48545"/>
                  <a:pt x="1524570" y="54762"/>
                  <a:pt x="1524570" y="62865"/>
                </a:cubicBezTo>
                <a:cubicBezTo>
                  <a:pt x="1524570" y="70827"/>
                  <a:pt x="1522022" y="77289"/>
                  <a:pt x="1516922" y="82248"/>
                </a:cubicBezTo>
                <a:cubicBezTo>
                  <a:pt x="1512242" y="86788"/>
                  <a:pt x="1506550" y="89058"/>
                  <a:pt x="1499844" y="89058"/>
                </a:cubicBezTo>
                <a:cubicBezTo>
                  <a:pt x="1490484" y="89058"/>
                  <a:pt x="1482416" y="85671"/>
                  <a:pt x="1475640" y="78895"/>
                </a:cubicBezTo>
                <a:lnTo>
                  <a:pt x="1479936" y="73237"/>
                </a:lnTo>
                <a:cubicBezTo>
                  <a:pt x="1485594" y="79035"/>
                  <a:pt x="1491986" y="81934"/>
                  <a:pt x="1499110" y="81934"/>
                </a:cubicBezTo>
                <a:cubicBezTo>
                  <a:pt x="1503860" y="81934"/>
                  <a:pt x="1507842" y="80222"/>
                  <a:pt x="1511054" y="76800"/>
                </a:cubicBezTo>
                <a:cubicBezTo>
                  <a:pt x="1514338" y="73307"/>
                  <a:pt x="1515980" y="68732"/>
                  <a:pt x="1515980" y="63074"/>
                </a:cubicBezTo>
                <a:cubicBezTo>
                  <a:pt x="1515980" y="57486"/>
                  <a:pt x="1514478" y="53051"/>
                  <a:pt x="1511474" y="49768"/>
                </a:cubicBezTo>
                <a:cubicBezTo>
                  <a:pt x="1508540" y="46555"/>
                  <a:pt x="1504558" y="44948"/>
                  <a:pt x="1499530" y="44948"/>
                </a:cubicBezTo>
                <a:cubicBezTo>
                  <a:pt x="1495478" y="44948"/>
                  <a:pt x="1491148" y="46485"/>
                  <a:pt x="1486538" y="49558"/>
                </a:cubicBezTo>
                <a:lnTo>
                  <a:pt x="1481822" y="46624"/>
                </a:lnTo>
                <a:close/>
                <a:moveTo>
                  <a:pt x="1430216" y="11001"/>
                </a:moveTo>
                <a:lnTo>
                  <a:pt x="1477678" y="11001"/>
                </a:lnTo>
                <a:lnTo>
                  <a:pt x="1477678" y="16135"/>
                </a:lnTo>
                <a:cubicBezTo>
                  <a:pt x="1469158" y="27171"/>
                  <a:pt x="1463254" y="38277"/>
                  <a:pt x="1459972" y="49453"/>
                </a:cubicBezTo>
                <a:cubicBezTo>
                  <a:pt x="1457318" y="58674"/>
                  <a:pt x="1455642" y="71421"/>
                  <a:pt x="1454942" y="87696"/>
                </a:cubicBezTo>
                <a:lnTo>
                  <a:pt x="1446038" y="87696"/>
                </a:lnTo>
                <a:cubicBezTo>
                  <a:pt x="1447224" y="59966"/>
                  <a:pt x="1454488" y="36845"/>
                  <a:pt x="1467830" y="18335"/>
                </a:cubicBezTo>
                <a:lnTo>
                  <a:pt x="1430216" y="18335"/>
                </a:lnTo>
                <a:close/>
                <a:moveTo>
                  <a:pt x="1379458" y="11001"/>
                </a:moveTo>
                <a:lnTo>
                  <a:pt x="1416128" y="11001"/>
                </a:lnTo>
                <a:lnTo>
                  <a:pt x="1416128" y="18335"/>
                </a:lnTo>
                <a:lnTo>
                  <a:pt x="1387002" y="18335"/>
                </a:lnTo>
                <a:lnTo>
                  <a:pt x="1384906" y="41595"/>
                </a:lnTo>
                <a:cubicBezTo>
                  <a:pt x="1388748" y="39430"/>
                  <a:pt x="1392728" y="38347"/>
                  <a:pt x="1396850" y="38347"/>
                </a:cubicBezTo>
                <a:cubicBezTo>
                  <a:pt x="1403626" y="38347"/>
                  <a:pt x="1409038" y="40303"/>
                  <a:pt x="1413090" y="44215"/>
                </a:cubicBezTo>
                <a:cubicBezTo>
                  <a:pt x="1417560" y="48545"/>
                  <a:pt x="1419796" y="54762"/>
                  <a:pt x="1419796" y="62865"/>
                </a:cubicBezTo>
                <a:cubicBezTo>
                  <a:pt x="1419796" y="70827"/>
                  <a:pt x="1417246" y="77289"/>
                  <a:pt x="1412148" y="82248"/>
                </a:cubicBezTo>
                <a:cubicBezTo>
                  <a:pt x="1407468" y="86788"/>
                  <a:pt x="1401774" y="89058"/>
                  <a:pt x="1395068" y="89058"/>
                </a:cubicBezTo>
                <a:cubicBezTo>
                  <a:pt x="1385708" y="89058"/>
                  <a:pt x="1377642" y="85671"/>
                  <a:pt x="1370866" y="78895"/>
                </a:cubicBezTo>
                <a:lnTo>
                  <a:pt x="1375162" y="73237"/>
                </a:lnTo>
                <a:cubicBezTo>
                  <a:pt x="1380820" y="79035"/>
                  <a:pt x="1387210" y="81934"/>
                  <a:pt x="1394336" y="81934"/>
                </a:cubicBezTo>
                <a:cubicBezTo>
                  <a:pt x="1399086" y="81934"/>
                  <a:pt x="1403066" y="80222"/>
                  <a:pt x="1406280" y="76800"/>
                </a:cubicBezTo>
                <a:cubicBezTo>
                  <a:pt x="1409562" y="73307"/>
                  <a:pt x="1411204" y="68732"/>
                  <a:pt x="1411204" y="63074"/>
                </a:cubicBezTo>
                <a:cubicBezTo>
                  <a:pt x="1411204" y="57486"/>
                  <a:pt x="1409702" y="53051"/>
                  <a:pt x="1406698" y="49768"/>
                </a:cubicBezTo>
                <a:cubicBezTo>
                  <a:pt x="1403766" y="46555"/>
                  <a:pt x="1399784" y="44948"/>
                  <a:pt x="1394754" y="44948"/>
                </a:cubicBezTo>
                <a:cubicBezTo>
                  <a:pt x="1390704" y="44948"/>
                  <a:pt x="1386372" y="46485"/>
                  <a:pt x="1381762" y="49558"/>
                </a:cubicBezTo>
                <a:lnTo>
                  <a:pt x="1377048" y="46624"/>
                </a:lnTo>
                <a:close/>
                <a:moveTo>
                  <a:pt x="1288208" y="11001"/>
                </a:moveTo>
                <a:lnTo>
                  <a:pt x="1297324" y="11001"/>
                </a:lnTo>
                <a:lnTo>
                  <a:pt x="1297324" y="59512"/>
                </a:lnTo>
                <a:lnTo>
                  <a:pt x="1307800" y="59512"/>
                </a:lnTo>
                <a:lnTo>
                  <a:pt x="1307800" y="66322"/>
                </a:lnTo>
                <a:lnTo>
                  <a:pt x="1297324" y="66322"/>
                </a:lnTo>
                <a:lnTo>
                  <a:pt x="1297324" y="87696"/>
                </a:lnTo>
                <a:lnTo>
                  <a:pt x="1289256" y="87696"/>
                </a:lnTo>
                <a:lnTo>
                  <a:pt x="1289256" y="66322"/>
                </a:lnTo>
                <a:lnTo>
                  <a:pt x="1255622" y="66322"/>
                </a:lnTo>
                <a:lnTo>
                  <a:pt x="1255622" y="60769"/>
                </a:lnTo>
                <a:close/>
                <a:moveTo>
                  <a:pt x="711870" y="11001"/>
                </a:moveTo>
                <a:lnTo>
                  <a:pt x="730728" y="11001"/>
                </a:lnTo>
                <a:cubicBezTo>
                  <a:pt x="742394" y="11001"/>
                  <a:pt x="751300" y="14319"/>
                  <a:pt x="757446" y="20955"/>
                </a:cubicBezTo>
                <a:cubicBezTo>
                  <a:pt x="763524" y="27520"/>
                  <a:pt x="766562" y="36880"/>
                  <a:pt x="766562" y="49034"/>
                </a:cubicBezTo>
                <a:cubicBezTo>
                  <a:pt x="766562" y="61258"/>
                  <a:pt x="763558" y="70723"/>
                  <a:pt x="757550" y="77428"/>
                </a:cubicBezTo>
                <a:cubicBezTo>
                  <a:pt x="751404" y="84274"/>
                  <a:pt x="742568" y="87696"/>
                  <a:pt x="731042" y="87696"/>
                </a:cubicBezTo>
                <a:lnTo>
                  <a:pt x="711870" y="87696"/>
                </a:lnTo>
                <a:close/>
                <a:moveTo>
                  <a:pt x="473744" y="11001"/>
                </a:moveTo>
                <a:lnTo>
                  <a:pt x="495956" y="11001"/>
                </a:lnTo>
                <a:cubicBezTo>
                  <a:pt x="513418" y="11001"/>
                  <a:pt x="522150" y="17253"/>
                  <a:pt x="522150" y="29756"/>
                </a:cubicBezTo>
                <a:cubicBezTo>
                  <a:pt x="522150" y="38347"/>
                  <a:pt x="518344" y="43900"/>
                  <a:pt x="510730" y="46415"/>
                </a:cubicBezTo>
                <a:lnTo>
                  <a:pt x="510730" y="46834"/>
                </a:lnTo>
                <a:cubicBezTo>
                  <a:pt x="521346" y="48860"/>
                  <a:pt x="526656" y="55006"/>
                  <a:pt x="526656" y="65274"/>
                </a:cubicBezTo>
                <a:cubicBezTo>
                  <a:pt x="526656" y="72539"/>
                  <a:pt x="523966" y="78162"/>
                  <a:pt x="518588" y="82143"/>
                </a:cubicBezTo>
                <a:cubicBezTo>
                  <a:pt x="513488" y="85845"/>
                  <a:pt x="506504" y="87696"/>
                  <a:pt x="497632" y="87696"/>
                </a:cubicBezTo>
                <a:lnTo>
                  <a:pt x="473744" y="87696"/>
                </a:lnTo>
                <a:close/>
                <a:moveTo>
                  <a:pt x="1225714" y="9848"/>
                </a:moveTo>
                <a:cubicBezTo>
                  <a:pt x="1232140" y="9848"/>
                  <a:pt x="1237240" y="11734"/>
                  <a:pt x="1241012" y="15506"/>
                </a:cubicBezTo>
                <a:cubicBezTo>
                  <a:pt x="1244714" y="19208"/>
                  <a:pt x="1246564" y="24063"/>
                  <a:pt x="1246564" y="30070"/>
                </a:cubicBezTo>
                <a:cubicBezTo>
                  <a:pt x="1246564" y="37055"/>
                  <a:pt x="1243106" y="43272"/>
                  <a:pt x="1236192" y="48720"/>
                </a:cubicBezTo>
                <a:lnTo>
                  <a:pt x="1236192" y="49244"/>
                </a:lnTo>
                <a:cubicBezTo>
                  <a:pt x="1244854" y="54273"/>
                  <a:pt x="1249184" y="60979"/>
                  <a:pt x="1249184" y="69361"/>
                </a:cubicBezTo>
                <a:cubicBezTo>
                  <a:pt x="1249184" y="74949"/>
                  <a:pt x="1247018" y="79594"/>
                  <a:pt x="1242688" y="83296"/>
                </a:cubicBezTo>
                <a:cubicBezTo>
                  <a:pt x="1238218" y="87137"/>
                  <a:pt x="1232490" y="89058"/>
                  <a:pt x="1225504" y="89058"/>
                </a:cubicBezTo>
                <a:cubicBezTo>
                  <a:pt x="1218450" y="89058"/>
                  <a:pt x="1212652" y="87137"/>
                  <a:pt x="1208112" y="83296"/>
                </a:cubicBezTo>
                <a:cubicBezTo>
                  <a:pt x="1203502" y="79454"/>
                  <a:pt x="1201196" y="74564"/>
                  <a:pt x="1201196" y="68627"/>
                </a:cubicBezTo>
                <a:cubicBezTo>
                  <a:pt x="1201196" y="59617"/>
                  <a:pt x="1205946" y="52492"/>
                  <a:pt x="1215446" y="47253"/>
                </a:cubicBezTo>
                <a:lnTo>
                  <a:pt x="1215446" y="46834"/>
                </a:lnTo>
                <a:cubicBezTo>
                  <a:pt x="1208532" y="42154"/>
                  <a:pt x="1205074" y="36287"/>
                  <a:pt x="1205074" y="29232"/>
                </a:cubicBezTo>
                <a:cubicBezTo>
                  <a:pt x="1205074" y="23504"/>
                  <a:pt x="1207064" y="18824"/>
                  <a:pt x="1211046" y="15192"/>
                </a:cubicBezTo>
                <a:cubicBezTo>
                  <a:pt x="1214888" y="11630"/>
                  <a:pt x="1219778" y="9848"/>
                  <a:pt x="1225714" y="9848"/>
                </a:cubicBezTo>
                <a:close/>
                <a:moveTo>
                  <a:pt x="1866098" y="9639"/>
                </a:moveTo>
                <a:cubicBezTo>
                  <a:pt x="1874620" y="9639"/>
                  <a:pt x="1881920" y="12747"/>
                  <a:pt x="1887998" y="18964"/>
                </a:cubicBezTo>
                <a:lnTo>
                  <a:pt x="1883178" y="24622"/>
                </a:lnTo>
                <a:cubicBezTo>
                  <a:pt x="1878568" y="19732"/>
                  <a:pt x="1872944" y="17287"/>
                  <a:pt x="1866308" y="17287"/>
                </a:cubicBezTo>
                <a:cubicBezTo>
                  <a:pt x="1858346" y="17287"/>
                  <a:pt x="1852024" y="20116"/>
                  <a:pt x="1847344" y="25774"/>
                </a:cubicBezTo>
                <a:cubicBezTo>
                  <a:pt x="1842594" y="31502"/>
                  <a:pt x="1840220" y="39290"/>
                  <a:pt x="1840220" y="49139"/>
                </a:cubicBezTo>
                <a:cubicBezTo>
                  <a:pt x="1840220" y="59128"/>
                  <a:pt x="1842490" y="66986"/>
                  <a:pt x="1847030" y="72713"/>
                </a:cubicBezTo>
                <a:cubicBezTo>
                  <a:pt x="1851640" y="78511"/>
                  <a:pt x="1858066" y="81410"/>
                  <a:pt x="1866308" y="81410"/>
                </a:cubicBezTo>
                <a:cubicBezTo>
                  <a:pt x="1872664" y="81410"/>
                  <a:pt x="1877520" y="79803"/>
                  <a:pt x="1880872" y="76590"/>
                </a:cubicBezTo>
                <a:lnTo>
                  <a:pt x="1880872" y="55635"/>
                </a:lnTo>
                <a:lnTo>
                  <a:pt x="1864214" y="55635"/>
                </a:lnTo>
                <a:lnTo>
                  <a:pt x="1864214" y="48406"/>
                </a:lnTo>
                <a:lnTo>
                  <a:pt x="1888940" y="48406"/>
                </a:lnTo>
                <a:lnTo>
                  <a:pt x="1888940" y="80257"/>
                </a:lnTo>
                <a:cubicBezTo>
                  <a:pt x="1883282" y="86125"/>
                  <a:pt x="1875458" y="89058"/>
                  <a:pt x="1865470" y="89058"/>
                </a:cubicBezTo>
                <a:cubicBezTo>
                  <a:pt x="1855272" y="89058"/>
                  <a:pt x="1847066" y="85531"/>
                  <a:pt x="1840848" y="78476"/>
                </a:cubicBezTo>
                <a:cubicBezTo>
                  <a:pt x="1834492" y="71281"/>
                  <a:pt x="1831314" y="61572"/>
                  <a:pt x="1831314" y="49349"/>
                </a:cubicBezTo>
                <a:cubicBezTo>
                  <a:pt x="1831314" y="37195"/>
                  <a:pt x="1834596" y="27486"/>
                  <a:pt x="1841162" y="20221"/>
                </a:cubicBezTo>
                <a:cubicBezTo>
                  <a:pt x="1847518" y="13166"/>
                  <a:pt x="1855830" y="9639"/>
                  <a:pt x="1866098" y="9639"/>
                </a:cubicBezTo>
                <a:close/>
                <a:moveTo>
                  <a:pt x="1771888" y="9639"/>
                </a:moveTo>
                <a:cubicBezTo>
                  <a:pt x="1780828" y="9639"/>
                  <a:pt x="1788266" y="12782"/>
                  <a:pt x="1794204" y="19069"/>
                </a:cubicBezTo>
                <a:lnTo>
                  <a:pt x="1789594" y="24622"/>
                </a:lnTo>
                <a:cubicBezTo>
                  <a:pt x="1784496" y="19732"/>
                  <a:pt x="1778592" y="17287"/>
                  <a:pt x="1771888" y="17287"/>
                </a:cubicBezTo>
                <a:cubicBezTo>
                  <a:pt x="1767416" y="17287"/>
                  <a:pt x="1763820" y="18335"/>
                  <a:pt x="1761096" y="20431"/>
                </a:cubicBezTo>
                <a:cubicBezTo>
                  <a:pt x="1758372" y="22596"/>
                  <a:pt x="1757010" y="25460"/>
                  <a:pt x="1757010" y="29022"/>
                </a:cubicBezTo>
                <a:cubicBezTo>
                  <a:pt x="1757010" y="32515"/>
                  <a:pt x="1758406" y="35414"/>
                  <a:pt x="1761200" y="37719"/>
                </a:cubicBezTo>
                <a:cubicBezTo>
                  <a:pt x="1762806" y="39046"/>
                  <a:pt x="1765670" y="40582"/>
                  <a:pt x="1769792" y="42329"/>
                </a:cubicBezTo>
                <a:lnTo>
                  <a:pt x="1780898" y="47044"/>
                </a:lnTo>
                <a:cubicBezTo>
                  <a:pt x="1791516" y="51723"/>
                  <a:pt x="1796824" y="58569"/>
                  <a:pt x="1796824" y="67579"/>
                </a:cubicBezTo>
                <a:cubicBezTo>
                  <a:pt x="1796824" y="73726"/>
                  <a:pt x="1794518" y="78825"/>
                  <a:pt x="1789908" y="82877"/>
                </a:cubicBezTo>
                <a:cubicBezTo>
                  <a:pt x="1785088" y="86998"/>
                  <a:pt x="1778802" y="89058"/>
                  <a:pt x="1771050" y="89058"/>
                </a:cubicBezTo>
                <a:cubicBezTo>
                  <a:pt x="1760432" y="89058"/>
                  <a:pt x="1751562" y="85251"/>
                  <a:pt x="1744436" y="77638"/>
                </a:cubicBezTo>
                <a:lnTo>
                  <a:pt x="1749674" y="71666"/>
                </a:lnTo>
                <a:cubicBezTo>
                  <a:pt x="1755682" y="78162"/>
                  <a:pt x="1762842" y="81410"/>
                  <a:pt x="1771154" y="81410"/>
                </a:cubicBezTo>
                <a:cubicBezTo>
                  <a:pt x="1776322" y="81410"/>
                  <a:pt x="1780444" y="80187"/>
                  <a:pt x="1783518" y="77743"/>
                </a:cubicBezTo>
                <a:cubicBezTo>
                  <a:pt x="1786520" y="75368"/>
                  <a:pt x="1788022" y="72190"/>
                  <a:pt x="1788022" y="68208"/>
                </a:cubicBezTo>
                <a:cubicBezTo>
                  <a:pt x="1788022" y="64506"/>
                  <a:pt x="1786766" y="61502"/>
                  <a:pt x="1784250" y="59197"/>
                </a:cubicBezTo>
                <a:cubicBezTo>
                  <a:pt x="1782644" y="57800"/>
                  <a:pt x="1779536" y="56089"/>
                  <a:pt x="1774926" y="54063"/>
                </a:cubicBezTo>
                <a:lnTo>
                  <a:pt x="1763820" y="49139"/>
                </a:lnTo>
                <a:cubicBezTo>
                  <a:pt x="1753412" y="44669"/>
                  <a:pt x="1748208" y="38173"/>
                  <a:pt x="1748208" y="29651"/>
                </a:cubicBezTo>
                <a:cubicBezTo>
                  <a:pt x="1748208" y="23853"/>
                  <a:pt x="1750444" y="19069"/>
                  <a:pt x="1754914" y="15297"/>
                </a:cubicBezTo>
                <a:cubicBezTo>
                  <a:pt x="1759384" y="11525"/>
                  <a:pt x="1765042" y="9639"/>
                  <a:pt x="1771888" y="9639"/>
                </a:cubicBezTo>
                <a:close/>
                <a:moveTo>
                  <a:pt x="1556156" y="9639"/>
                </a:moveTo>
                <a:cubicBezTo>
                  <a:pt x="1563838" y="9639"/>
                  <a:pt x="1569916" y="12677"/>
                  <a:pt x="1574386" y="18754"/>
                </a:cubicBezTo>
                <a:cubicBezTo>
                  <a:pt x="1579206" y="25111"/>
                  <a:pt x="1581616" y="34121"/>
                  <a:pt x="1581616" y="45786"/>
                </a:cubicBezTo>
                <a:cubicBezTo>
                  <a:pt x="1581616" y="60455"/>
                  <a:pt x="1578822" y="71596"/>
                  <a:pt x="1573234" y="79209"/>
                </a:cubicBezTo>
                <a:cubicBezTo>
                  <a:pt x="1568344" y="85775"/>
                  <a:pt x="1561954" y="89058"/>
                  <a:pt x="1554060" y="89058"/>
                </a:cubicBezTo>
                <a:cubicBezTo>
                  <a:pt x="1546936" y="89058"/>
                  <a:pt x="1540928" y="86509"/>
                  <a:pt x="1536038" y="81410"/>
                </a:cubicBezTo>
                <a:lnTo>
                  <a:pt x="1540754" y="76066"/>
                </a:lnTo>
                <a:cubicBezTo>
                  <a:pt x="1544316" y="79978"/>
                  <a:pt x="1548682" y="81934"/>
                  <a:pt x="1553850" y="81934"/>
                </a:cubicBezTo>
                <a:cubicBezTo>
                  <a:pt x="1559368" y="81934"/>
                  <a:pt x="1563804" y="79489"/>
                  <a:pt x="1567158" y="74599"/>
                </a:cubicBezTo>
                <a:cubicBezTo>
                  <a:pt x="1571068" y="68942"/>
                  <a:pt x="1573198" y="60315"/>
                  <a:pt x="1573548" y="48720"/>
                </a:cubicBezTo>
                <a:cubicBezTo>
                  <a:pt x="1568240" y="55216"/>
                  <a:pt x="1562232" y="58464"/>
                  <a:pt x="1555526" y="58464"/>
                </a:cubicBezTo>
                <a:cubicBezTo>
                  <a:pt x="1549030" y="58464"/>
                  <a:pt x="1543932" y="56438"/>
                  <a:pt x="1540230" y="52387"/>
                </a:cubicBezTo>
                <a:cubicBezTo>
                  <a:pt x="1536458" y="48126"/>
                  <a:pt x="1534572" y="42119"/>
                  <a:pt x="1534572" y="34366"/>
                </a:cubicBezTo>
                <a:cubicBezTo>
                  <a:pt x="1534572" y="27171"/>
                  <a:pt x="1536702" y="21199"/>
                  <a:pt x="1540964" y="16449"/>
                </a:cubicBezTo>
                <a:cubicBezTo>
                  <a:pt x="1545084" y="11909"/>
                  <a:pt x="1550148" y="9639"/>
                  <a:pt x="1556156" y="9639"/>
                </a:cubicBezTo>
                <a:close/>
                <a:moveTo>
                  <a:pt x="194356" y="9639"/>
                </a:moveTo>
                <a:lnTo>
                  <a:pt x="198652" y="11001"/>
                </a:lnTo>
                <a:cubicBezTo>
                  <a:pt x="195160" y="34680"/>
                  <a:pt x="187826" y="53959"/>
                  <a:pt x="176650" y="68837"/>
                </a:cubicBezTo>
                <a:cubicBezTo>
                  <a:pt x="182866" y="76660"/>
                  <a:pt x="191354" y="83889"/>
                  <a:pt x="202110" y="90525"/>
                </a:cubicBezTo>
                <a:cubicBezTo>
                  <a:pt x="199944" y="92132"/>
                  <a:pt x="198304" y="94018"/>
                  <a:pt x="197186" y="96183"/>
                </a:cubicBezTo>
                <a:cubicBezTo>
                  <a:pt x="186638" y="89338"/>
                  <a:pt x="178292" y="82108"/>
                  <a:pt x="172144" y="74495"/>
                </a:cubicBezTo>
                <a:cubicBezTo>
                  <a:pt x="164112" y="83645"/>
                  <a:pt x="154682" y="90665"/>
                  <a:pt x="143856" y="95554"/>
                </a:cubicBezTo>
                <a:cubicBezTo>
                  <a:pt x="142668" y="93179"/>
                  <a:pt x="141236" y="91259"/>
                  <a:pt x="139560" y="89792"/>
                </a:cubicBezTo>
                <a:cubicBezTo>
                  <a:pt x="150246" y="85391"/>
                  <a:pt x="159712" y="78406"/>
                  <a:pt x="167954" y="68837"/>
                </a:cubicBezTo>
                <a:cubicBezTo>
                  <a:pt x="159362" y="56264"/>
                  <a:pt x="153146" y="38871"/>
                  <a:pt x="149304" y="16659"/>
                </a:cubicBezTo>
                <a:lnTo>
                  <a:pt x="145322" y="16659"/>
                </a:lnTo>
                <a:lnTo>
                  <a:pt x="145322" y="9953"/>
                </a:lnTo>
                <a:lnTo>
                  <a:pt x="193100" y="9953"/>
                </a:lnTo>
                <a:close/>
                <a:moveTo>
                  <a:pt x="1337918" y="9534"/>
                </a:moveTo>
                <a:cubicBezTo>
                  <a:pt x="1344414" y="9604"/>
                  <a:pt x="1349618" y="11280"/>
                  <a:pt x="1353530" y="14563"/>
                </a:cubicBezTo>
                <a:cubicBezTo>
                  <a:pt x="1357652" y="17986"/>
                  <a:pt x="1359712" y="22666"/>
                  <a:pt x="1359712" y="28603"/>
                </a:cubicBezTo>
                <a:cubicBezTo>
                  <a:pt x="1359712" y="37753"/>
                  <a:pt x="1355136" y="43970"/>
                  <a:pt x="1345986" y="47253"/>
                </a:cubicBezTo>
                <a:lnTo>
                  <a:pt x="1345986" y="47672"/>
                </a:lnTo>
                <a:cubicBezTo>
                  <a:pt x="1350736" y="48790"/>
                  <a:pt x="1354578" y="50990"/>
                  <a:pt x="1357512" y="54273"/>
                </a:cubicBezTo>
                <a:cubicBezTo>
                  <a:pt x="1360724" y="57835"/>
                  <a:pt x="1362332" y="62166"/>
                  <a:pt x="1362332" y="67265"/>
                </a:cubicBezTo>
                <a:cubicBezTo>
                  <a:pt x="1362332" y="73901"/>
                  <a:pt x="1359992" y="79244"/>
                  <a:pt x="1355312" y="83296"/>
                </a:cubicBezTo>
                <a:cubicBezTo>
                  <a:pt x="1350842" y="87137"/>
                  <a:pt x="1345148" y="89058"/>
                  <a:pt x="1338234" y="89058"/>
                </a:cubicBezTo>
                <a:cubicBezTo>
                  <a:pt x="1328454" y="89058"/>
                  <a:pt x="1320352" y="85566"/>
                  <a:pt x="1313926" y="78581"/>
                </a:cubicBezTo>
                <a:lnTo>
                  <a:pt x="1318326" y="73028"/>
                </a:lnTo>
                <a:cubicBezTo>
                  <a:pt x="1324124" y="78965"/>
                  <a:pt x="1330584" y="81934"/>
                  <a:pt x="1337710" y="81934"/>
                </a:cubicBezTo>
                <a:cubicBezTo>
                  <a:pt x="1342458" y="81934"/>
                  <a:pt x="1346300" y="80606"/>
                  <a:pt x="1349234" y="77952"/>
                </a:cubicBezTo>
                <a:cubicBezTo>
                  <a:pt x="1352238" y="75158"/>
                  <a:pt x="1353740" y="71526"/>
                  <a:pt x="1353740" y="67056"/>
                </a:cubicBezTo>
                <a:cubicBezTo>
                  <a:pt x="1353740" y="56438"/>
                  <a:pt x="1345638" y="51130"/>
                  <a:pt x="1329432" y="51130"/>
                </a:cubicBezTo>
                <a:lnTo>
                  <a:pt x="1329432" y="44424"/>
                </a:lnTo>
                <a:cubicBezTo>
                  <a:pt x="1343822" y="44424"/>
                  <a:pt x="1351016" y="39360"/>
                  <a:pt x="1351016" y="29232"/>
                </a:cubicBezTo>
                <a:cubicBezTo>
                  <a:pt x="1351016" y="25390"/>
                  <a:pt x="1349828" y="22317"/>
                  <a:pt x="1347454" y="20012"/>
                </a:cubicBezTo>
                <a:cubicBezTo>
                  <a:pt x="1345008" y="17707"/>
                  <a:pt x="1341726" y="16519"/>
                  <a:pt x="1337604" y="16449"/>
                </a:cubicBezTo>
                <a:cubicBezTo>
                  <a:pt x="1331806" y="16519"/>
                  <a:pt x="1326428" y="19104"/>
                  <a:pt x="1321470" y="24203"/>
                </a:cubicBezTo>
                <a:lnTo>
                  <a:pt x="1316754" y="18650"/>
                </a:lnTo>
                <a:cubicBezTo>
                  <a:pt x="1323320" y="12642"/>
                  <a:pt x="1330374" y="9604"/>
                  <a:pt x="1337918" y="9534"/>
                </a:cubicBezTo>
                <a:close/>
                <a:moveTo>
                  <a:pt x="1101660" y="4295"/>
                </a:moveTo>
                <a:lnTo>
                  <a:pt x="1110148" y="4295"/>
                </a:lnTo>
                <a:lnTo>
                  <a:pt x="1110148" y="77952"/>
                </a:lnTo>
                <a:cubicBezTo>
                  <a:pt x="1110148" y="80606"/>
                  <a:pt x="1111020" y="81934"/>
                  <a:pt x="1112766" y="81934"/>
                </a:cubicBezTo>
                <a:cubicBezTo>
                  <a:pt x="1113396" y="81934"/>
                  <a:pt x="1114058" y="81864"/>
                  <a:pt x="1114758" y="81724"/>
                </a:cubicBezTo>
                <a:lnTo>
                  <a:pt x="1116014" y="88325"/>
                </a:lnTo>
                <a:cubicBezTo>
                  <a:pt x="1114408" y="88814"/>
                  <a:pt x="1112696" y="89058"/>
                  <a:pt x="1110880" y="89058"/>
                </a:cubicBezTo>
                <a:cubicBezTo>
                  <a:pt x="1104734" y="89058"/>
                  <a:pt x="1101660" y="85147"/>
                  <a:pt x="1101660" y="77324"/>
                </a:cubicBezTo>
                <a:close/>
                <a:moveTo>
                  <a:pt x="539686" y="4295"/>
                </a:moveTo>
                <a:lnTo>
                  <a:pt x="548172" y="4295"/>
                </a:lnTo>
                <a:lnTo>
                  <a:pt x="548172" y="77952"/>
                </a:lnTo>
                <a:cubicBezTo>
                  <a:pt x="548172" y="80606"/>
                  <a:pt x="549046" y="81934"/>
                  <a:pt x="550792" y="81934"/>
                </a:cubicBezTo>
                <a:cubicBezTo>
                  <a:pt x="551420" y="81934"/>
                  <a:pt x="552084" y="81864"/>
                  <a:pt x="552782" y="81724"/>
                </a:cubicBezTo>
                <a:lnTo>
                  <a:pt x="554040" y="88325"/>
                </a:lnTo>
                <a:cubicBezTo>
                  <a:pt x="552434" y="88814"/>
                  <a:pt x="550722" y="89058"/>
                  <a:pt x="548906" y="89058"/>
                </a:cubicBezTo>
                <a:cubicBezTo>
                  <a:pt x="542758" y="89058"/>
                  <a:pt x="539686" y="85147"/>
                  <a:pt x="539686" y="77324"/>
                </a:cubicBezTo>
                <a:close/>
                <a:moveTo>
                  <a:pt x="1090374" y="2933"/>
                </a:moveTo>
                <a:cubicBezTo>
                  <a:pt x="1093586" y="2933"/>
                  <a:pt x="1096626" y="3562"/>
                  <a:pt x="1099488" y="4819"/>
                </a:cubicBezTo>
                <a:lnTo>
                  <a:pt x="1097602" y="11420"/>
                </a:lnTo>
                <a:cubicBezTo>
                  <a:pt x="1095438" y="10372"/>
                  <a:pt x="1093272" y="9848"/>
                  <a:pt x="1091106" y="9848"/>
                </a:cubicBezTo>
                <a:cubicBezTo>
                  <a:pt x="1085658" y="9848"/>
                  <a:pt x="1082934" y="13690"/>
                  <a:pt x="1082934" y="21374"/>
                </a:cubicBezTo>
                <a:lnTo>
                  <a:pt x="1082934" y="31118"/>
                </a:lnTo>
                <a:lnTo>
                  <a:pt x="1095088" y="31118"/>
                </a:lnTo>
                <a:lnTo>
                  <a:pt x="1095088" y="38138"/>
                </a:lnTo>
                <a:lnTo>
                  <a:pt x="1082934" y="38138"/>
                </a:lnTo>
                <a:lnTo>
                  <a:pt x="1082934" y="87696"/>
                </a:lnTo>
                <a:lnTo>
                  <a:pt x="1074342" y="87696"/>
                </a:lnTo>
                <a:lnTo>
                  <a:pt x="1074342" y="38138"/>
                </a:lnTo>
                <a:lnTo>
                  <a:pt x="1066590" y="38138"/>
                </a:lnTo>
                <a:lnTo>
                  <a:pt x="1066590" y="31642"/>
                </a:lnTo>
                <a:lnTo>
                  <a:pt x="1074342" y="31118"/>
                </a:lnTo>
                <a:lnTo>
                  <a:pt x="1074342" y="21269"/>
                </a:lnTo>
                <a:cubicBezTo>
                  <a:pt x="1074342" y="9045"/>
                  <a:pt x="1079686" y="2933"/>
                  <a:pt x="1090374" y="2933"/>
                </a:cubicBezTo>
                <a:close/>
                <a:moveTo>
                  <a:pt x="90524" y="1047"/>
                </a:moveTo>
                <a:lnTo>
                  <a:pt x="95134" y="7019"/>
                </a:lnTo>
                <a:cubicBezTo>
                  <a:pt x="83750" y="9674"/>
                  <a:pt x="69954" y="11665"/>
                  <a:pt x="53748" y="12992"/>
                </a:cubicBezTo>
                <a:lnTo>
                  <a:pt x="53748" y="30908"/>
                </a:lnTo>
                <a:lnTo>
                  <a:pt x="88010" y="30908"/>
                </a:lnTo>
                <a:lnTo>
                  <a:pt x="89268" y="30594"/>
                </a:lnTo>
                <a:lnTo>
                  <a:pt x="93354" y="31851"/>
                </a:lnTo>
                <a:cubicBezTo>
                  <a:pt x="90840" y="49244"/>
                  <a:pt x="85670" y="63598"/>
                  <a:pt x="77846" y="74914"/>
                </a:cubicBezTo>
                <a:cubicBezTo>
                  <a:pt x="83016" y="81829"/>
                  <a:pt x="89302" y="86928"/>
                  <a:pt x="96706" y="90211"/>
                </a:cubicBezTo>
                <a:cubicBezTo>
                  <a:pt x="94680" y="91957"/>
                  <a:pt x="93110" y="93843"/>
                  <a:pt x="91992" y="95869"/>
                </a:cubicBezTo>
                <a:cubicBezTo>
                  <a:pt x="84798" y="92097"/>
                  <a:pt x="78720" y="86893"/>
                  <a:pt x="73760" y="80257"/>
                </a:cubicBezTo>
                <a:cubicBezTo>
                  <a:pt x="68172" y="86893"/>
                  <a:pt x="61642" y="92097"/>
                  <a:pt x="54168" y="95869"/>
                </a:cubicBezTo>
                <a:cubicBezTo>
                  <a:pt x="53050" y="93773"/>
                  <a:pt x="51654" y="91887"/>
                  <a:pt x="49976" y="90211"/>
                </a:cubicBezTo>
                <a:cubicBezTo>
                  <a:pt x="57520" y="86858"/>
                  <a:pt x="64122" y="81619"/>
                  <a:pt x="69780" y="74495"/>
                </a:cubicBezTo>
                <a:cubicBezTo>
                  <a:pt x="63982" y="64785"/>
                  <a:pt x="59512" y="52387"/>
                  <a:pt x="56368" y="37299"/>
                </a:cubicBezTo>
                <a:lnTo>
                  <a:pt x="53748" y="37299"/>
                </a:lnTo>
                <a:lnTo>
                  <a:pt x="53748" y="43586"/>
                </a:lnTo>
                <a:cubicBezTo>
                  <a:pt x="53748" y="67335"/>
                  <a:pt x="50360" y="84832"/>
                  <a:pt x="43586" y="96078"/>
                </a:cubicBezTo>
                <a:cubicBezTo>
                  <a:pt x="41978" y="94472"/>
                  <a:pt x="40128" y="93179"/>
                  <a:pt x="38032" y="92202"/>
                </a:cubicBezTo>
                <a:cubicBezTo>
                  <a:pt x="44110" y="81724"/>
                  <a:pt x="47148" y="65519"/>
                  <a:pt x="47148" y="43586"/>
                </a:cubicBezTo>
                <a:lnTo>
                  <a:pt x="47148" y="7543"/>
                </a:lnTo>
                <a:cubicBezTo>
                  <a:pt x="66148" y="5867"/>
                  <a:pt x="80606" y="3702"/>
                  <a:pt x="90524" y="1047"/>
                </a:cubicBezTo>
                <a:close/>
                <a:moveTo>
                  <a:pt x="254602" y="209"/>
                </a:moveTo>
                <a:lnTo>
                  <a:pt x="261832" y="209"/>
                </a:lnTo>
                <a:lnTo>
                  <a:pt x="261832" y="12992"/>
                </a:lnTo>
                <a:lnTo>
                  <a:pt x="300284" y="12992"/>
                </a:lnTo>
                <a:lnTo>
                  <a:pt x="300284" y="19697"/>
                </a:lnTo>
                <a:lnTo>
                  <a:pt x="261832" y="19697"/>
                </a:lnTo>
                <a:lnTo>
                  <a:pt x="261832" y="46520"/>
                </a:lnTo>
                <a:lnTo>
                  <a:pt x="304580" y="46520"/>
                </a:lnTo>
                <a:lnTo>
                  <a:pt x="304580" y="53120"/>
                </a:lnTo>
                <a:lnTo>
                  <a:pt x="266862" y="53120"/>
                </a:lnTo>
                <a:cubicBezTo>
                  <a:pt x="277828" y="67859"/>
                  <a:pt x="291134" y="78651"/>
                  <a:pt x="306780" y="85496"/>
                </a:cubicBezTo>
                <a:cubicBezTo>
                  <a:pt x="305174" y="86893"/>
                  <a:pt x="303568" y="88814"/>
                  <a:pt x="301960" y="91259"/>
                </a:cubicBezTo>
                <a:cubicBezTo>
                  <a:pt x="286244" y="83505"/>
                  <a:pt x="272868" y="71910"/>
                  <a:pt x="261832" y="56473"/>
                </a:cubicBezTo>
                <a:lnTo>
                  <a:pt x="261832" y="95554"/>
                </a:lnTo>
                <a:lnTo>
                  <a:pt x="254602" y="95554"/>
                </a:lnTo>
                <a:lnTo>
                  <a:pt x="254602" y="56788"/>
                </a:lnTo>
                <a:cubicBezTo>
                  <a:pt x="243916" y="71666"/>
                  <a:pt x="230714" y="83051"/>
                  <a:pt x="214998" y="90944"/>
                </a:cubicBezTo>
                <a:cubicBezTo>
                  <a:pt x="213530" y="88709"/>
                  <a:pt x="211890" y="86788"/>
                  <a:pt x="210074" y="85182"/>
                </a:cubicBezTo>
                <a:cubicBezTo>
                  <a:pt x="225860" y="78406"/>
                  <a:pt x="239060" y="67719"/>
                  <a:pt x="249678" y="53120"/>
                </a:cubicBezTo>
                <a:lnTo>
                  <a:pt x="212168" y="53120"/>
                </a:lnTo>
                <a:lnTo>
                  <a:pt x="212168" y="46520"/>
                </a:lnTo>
                <a:lnTo>
                  <a:pt x="254602" y="46520"/>
                </a:lnTo>
                <a:lnTo>
                  <a:pt x="254602" y="19697"/>
                </a:lnTo>
                <a:lnTo>
                  <a:pt x="217198" y="19697"/>
                </a:lnTo>
                <a:lnTo>
                  <a:pt x="217198" y="12992"/>
                </a:lnTo>
                <a:lnTo>
                  <a:pt x="254602" y="12992"/>
                </a:lnTo>
                <a:close/>
                <a:moveTo>
                  <a:pt x="124052" y="104"/>
                </a:moveTo>
                <a:lnTo>
                  <a:pt x="130864" y="104"/>
                </a:lnTo>
                <a:lnTo>
                  <a:pt x="130864" y="22526"/>
                </a:lnTo>
                <a:lnTo>
                  <a:pt x="145112" y="22526"/>
                </a:lnTo>
                <a:lnTo>
                  <a:pt x="145112" y="29127"/>
                </a:lnTo>
                <a:lnTo>
                  <a:pt x="130864" y="29127"/>
                </a:lnTo>
                <a:lnTo>
                  <a:pt x="130864" y="33318"/>
                </a:lnTo>
                <a:cubicBezTo>
                  <a:pt x="134216" y="36671"/>
                  <a:pt x="140084" y="43411"/>
                  <a:pt x="148466" y="53540"/>
                </a:cubicBezTo>
                <a:lnTo>
                  <a:pt x="144064" y="59721"/>
                </a:lnTo>
                <a:cubicBezTo>
                  <a:pt x="141132" y="54972"/>
                  <a:pt x="136730" y="48860"/>
                  <a:pt x="130864" y="41386"/>
                </a:cubicBezTo>
                <a:lnTo>
                  <a:pt x="130864" y="95450"/>
                </a:lnTo>
                <a:lnTo>
                  <a:pt x="124052" y="95450"/>
                </a:lnTo>
                <a:lnTo>
                  <a:pt x="124052" y="41281"/>
                </a:lnTo>
                <a:cubicBezTo>
                  <a:pt x="119302" y="56508"/>
                  <a:pt x="113854" y="68173"/>
                  <a:pt x="107708" y="76276"/>
                </a:cubicBezTo>
                <a:cubicBezTo>
                  <a:pt x="106660" y="73831"/>
                  <a:pt x="105264" y="71596"/>
                  <a:pt x="103516" y="69570"/>
                </a:cubicBezTo>
                <a:cubicBezTo>
                  <a:pt x="111550" y="60071"/>
                  <a:pt x="117732" y="46590"/>
                  <a:pt x="122062" y="29127"/>
                </a:cubicBezTo>
                <a:lnTo>
                  <a:pt x="106346" y="29127"/>
                </a:lnTo>
                <a:lnTo>
                  <a:pt x="106346" y="22526"/>
                </a:lnTo>
                <a:lnTo>
                  <a:pt x="124052" y="22526"/>
                </a:lnTo>
                <a:close/>
                <a:moveTo>
                  <a:pt x="358958" y="0"/>
                </a:moveTo>
                <a:lnTo>
                  <a:pt x="366816" y="1152"/>
                </a:lnTo>
                <a:cubicBezTo>
                  <a:pt x="364930" y="6461"/>
                  <a:pt x="363184" y="10896"/>
                  <a:pt x="361578" y="14459"/>
                </a:cubicBezTo>
                <a:lnTo>
                  <a:pt x="399402" y="14459"/>
                </a:lnTo>
                <a:lnTo>
                  <a:pt x="399402" y="95240"/>
                </a:lnTo>
                <a:lnTo>
                  <a:pt x="392172" y="95240"/>
                </a:lnTo>
                <a:lnTo>
                  <a:pt x="392172" y="89792"/>
                </a:lnTo>
                <a:lnTo>
                  <a:pt x="335384" y="89792"/>
                </a:lnTo>
                <a:lnTo>
                  <a:pt x="335384" y="95764"/>
                </a:lnTo>
                <a:lnTo>
                  <a:pt x="328364" y="95764"/>
                </a:lnTo>
                <a:lnTo>
                  <a:pt x="328364" y="14459"/>
                </a:lnTo>
                <a:lnTo>
                  <a:pt x="354558" y="14459"/>
                </a:lnTo>
                <a:cubicBezTo>
                  <a:pt x="356304" y="9988"/>
                  <a:pt x="357770" y="5168"/>
                  <a:pt x="358958" y="0"/>
                </a:cubicBezTo>
                <a:close/>
                <a:moveTo>
                  <a:pt x="26298" y="0"/>
                </a:moveTo>
                <a:lnTo>
                  <a:pt x="32688" y="0"/>
                </a:lnTo>
                <a:lnTo>
                  <a:pt x="32688" y="29337"/>
                </a:lnTo>
                <a:lnTo>
                  <a:pt x="42224" y="29337"/>
                </a:lnTo>
                <a:lnTo>
                  <a:pt x="42224" y="35623"/>
                </a:lnTo>
                <a:lnTo>
                  <a:pt x="14354" y="35623"/>
                </a:lnTo>
                <a:lnTo>
                  <a:pt x="14354" y="43796"/>
                </a:lnTo>
                <a:cubicBezTo>
                  <a:pt x="14354" y="47078"/>
                  <a:pt x="14318" y="49558"/>
                  <a:pt x="14248" y="51235"/>
                </a:cubicBezTo>
                <a:lnTo>
                  <a:pt x="35728" y="51235"/>
                </a:lnTo>
                <a:lnTo>
                  <a:pt x="35728" y="95554"/>
                </a:lnTo>
                <a:lnTo>
                  <a:pt x="29336" y="95554"/>
                </a:lnTo>
                <a:lnTo>
                  <a:pt x="29336" y="57521"/>
                </a:lnTo>
                <a:lnTo>
                  <a:pt x="14038" y="57521"/>
                </a:lnTo>
                <a:cubicBezTo>
                  <a:pt x="13130" y="74006"/>
                  <a:pt x="10128" y="86788"/>
                  <a:pt x="5028" y="95869"/>
                </a:cubicBezTo>
                <a:cubicBezTo>
                  <a:pt x="3632" y="94332"/>
                  <a:pt x="1954" y="92935"/>
                  <a:pt x="0" y="91678"/>
                </a:cubicBezTo>
                <a:cubicBezTo>
                  <a:pt x="5238" y="81549"/>
                  <a:pt x="7858" y="65589"/>
                  <a:pt x="7858" y="43796"/>
                </a:cubicBezTo>
                <a:lnTo>
                  <a:pt x="7858" y="2305"/>
                </a:lnTo>
                <a:lnTo>
                  <a:pt x="14354" y="2305"/>
                </a:lnTo>
                <a:lnTo>
                  <a:pt x="14354" y="29337"/>
                </a:lnTo>
                <a:lnTo>
                  <a:pt x="26298" y="29337"/>
                </a:lnTo>
                <a:close/>
              </a:path>
            </a:pathLst>
          </a:custGeom>
          <a:solidFill>
            <a:srgbClr val="E6E6E6"/>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fontAlgn="base"/>
            <a:endParaRPr lang="zh-CN" altLang="en-US" sz="800" dirty="0">
              <a:solidFill>
                <a:schemeClr val="bg1"/>
              </a:solidFill>
            </a:endParaRPr>
          </a:p>
        </p:txBody>
      </p:sp>
      <p:sp>
        <p:nvSpPr>
          <p:cNvPr id="44" name="矩形 43"/>
          <p:cNvSpPr/>
          <p:nvPr/>
        </p:nvSpPr>
        <p:spPr>
          <a:xfrm>
            <a:off x="-23734004" y="6488668"/>
            <a:ext cx="1071127" cy="369332"/>
          </a:xfrm>
          <a:prstGeom prst="rect">
            <a:avLst/>
          </a:prstGeom>
        </p:spPr>
        <p:txBody>
          <a:bodyPr wrap="none">
            <a:spAutoFit/>
          </a:bodyPr>
          <a:lstStyle/>
          <a:p>
            <a:r>
              <a:rPr lang="zh-CN" altLang="en-US" dirty="0">
                <a:solidFill>
                  <a:srgbClr val="CCD1D4"/>
                </a:solidFill>
              </a:rPr>
              <a:t>8435759</a:t>
            </a:r>
            <a:endParaRPr lang="zh-CN" altLang="en-US" dirty="0">
              <a:solidFill>
                <a:srgbClr val="CCD1D4"/>
              </a:solidFill>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41"/>
                                        </p:tgtEl>
                                        <p:attrNameLst>
                                          <p:attrName>style.visibility</p:attrName>
                                        </p:attrNameLst>
                                      </p:cBhvr>
                                      <p:to>
                                        <p:strVal val="visible"/>
                                      </p:to>
                                    </p:set>
                                    <p:animEffect transition="in" filter="wipe(down)">
                                      <p:cBhvr>
                                        <p:cTn id="7" dur="500"/>
                                        <p:tgtEl>
                                          <p:spTgt spid="141"/>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36"/>
                                        </p:tgtEl>
                                        <p:attrNameLst>
                                          <p:attrName>style.visibility</p:attrName>
                                        </p:attrNameLst>
                                      </p:cBhvr>
                                      <p:to>
                                        <p:strVal val="visible"/>
                                      </p:to>
                                    </p:set>
                                    <p:animEffect transition="in" filter="wipe(down)">
                                      <p:cBhvr>
                                        <p:cTn id="11" dur="500"/>
                                        <p:tgtEl>
                                          <p:spTgt spid="136"/>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137"/>
                                        </p:tgtEl>
                                        <p:attrNameLst>
                                          <p:attrName>style.visibility</p:attrName>
                                        </p:attrNameLst>
                                      </p:cBhvr>
                                      <p:to>
                                        <p:strVal val="visible"/>
                                      </p:to>
                                    </p:set>
                                    <p:animEffect transition="in" filter="wipe(down)">
                                      <p:cBhvr>
                                        <p:cTn id="15" dur="500"/>
                                        <p:tgtEl>
                                          <p:spTgt spid="137"/>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139"/>
                                        </p:tgtEl>
                                        <p:attrNameLst>
                                          <p:attrName>style.visibility</p:attrName>
                                        </p:attrNameLst>
                                      </p:cBhvr>
                                      <p:to>
                                        <p:strVal val="visible"/>
                                      </p:to>
                                    </p:set>
                                    <p:animEffect transition="in" filter="wipe(down)">
                                      <p:cBhvr>
                                        <p:cTn id="19" dur="500"/>
                                        <p:tgtEl>
                                          <p:spTgt spid="139"/>
                                        </p:tgtEl>
                                      </p:cBhvr>
                                    </p:animEffect>
                                  </p:childTnLst>
                                </p:cTn>
                              </p:par>
                            </p:childTnLst>
                          </p:cTn>
                        </p:par>
                        <p:par>
                          <p:cTn id="20" fill="hold">
                            <p:stCondLst>
                              <p:cond delay="2000"/>
                            </p:stCondLst>
                            <p:childTnLst>
                              <p:par>
                                <p:cTn id="21" presetID="42" presetClass="entr" presetSubtype="0" fill="hold" grpId="0" nodeType="afterEffect">
                                  <p:stCondLst>
                                    <p:cond delay="0"/>
                                  </p:stCondLst>
                                  <p:childTnLst>
                                    <p:set>
                                      <p:cBhvr>
                                        <p:cTn id="22" dur="1" fill="hold">
                                          <p:stCondLst>
                                            <p:cond delay="0"/>
                                          </p:stCondLst>
                                        </p:cTn>
                                        <p:tgtEl>
                                          <p:spTgt spid="149"/>
                                        </p:tgtEl>
                                        <p:attrNameLst>
                                          <p:attrName>style.visibility</p:attrName>
                                        </p:attrNameLst>
                                      </p:cBhvr>
                                      <p:to>
                                        <p:strVal val="visible"/>
                                      </p:to>
                                    </p:set>
                                    <p:animEffect transition="in" filter="fade">
                                      <p:cBhvr>
                                        <p:cTn id="23" dur="1000"/>
                                        <p:tgtEl>
                                          <p:spTgt spid="149"/>
                                        </p:tgtEl>
                                      </p:cBhvr>
                                    </p:animEffect>
                                    <p:anim calcmode="lin" valueType="num">
                                      <p:cBhvr>
                                        <p:cTn id="24" dur="1000" fill="hold"/>
                                        <p:tgtEl>
                                          <p:spTgt spid="149"/>
                                        </p:tgtEl>
                                        <p:attrNameLst>
                                          <p:attrName>ppt_x</p:attrName>
                                        </p:attrNameLst>
                                      </p:cBhvr>
                                      <p:tavLst>
                                        <p:tav tm="0">
                                          <p:val>
                                            <p:strVal val="#ppt_x"/>
                                          </p:val>
                                        </p:tav>
                                        <p:tav tm="100000">
                                          <p:val>
                                            <p:strVal val="#ppt_x"/>
                                          </p:val>
                                        </p:tav>
                                      </p:tavLst>
                                    </p:anim>
                                    <p:anim calcmode="lin" valueType="num">
                                      <p:cBhvr>
                                        <p:cTn id="25" dur="1000" fill="hold"/>
                                        <p:tgtEl>
                                          <p:spTgt spid="14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100000" numSld="999" showWhenStopped="0">
                <p:cTn id="26" repeatCount="indefinite" fill="hold" display="0">
                  <p:stCondLst>
                    <p:cond delay="indefinite"/>
                  </p:stCondLst>
                  <p:endCondLst>
                    <p:cond evt="onStopAudio" delay="0">
                      <p:tgtEl>
                        <p:sldTgt/>
                      </p:tgtEl>
                    </p:cond>
                  </p:endCondLst>
                </p:cTn>
                <p:tgtEl>
                  <p:spTgt spid="39"/>
                </p:tgtEl>
              </p:cMediaNode>
            </p:audio>
          </p:childTnLst>
        </p:cTn>
      </p:par>
    </p:tnLst>
    <p:bldLst>
      <p:bldP spid="136" grpId="0" animBg="1"/>
      <p:bldP spid="137" grpId="0" animBg="1"/>
      <p:bldP spid="139" grpId="0" animBg="1"/>
      <p:bldP spid="141" grpId="0" animBg="1"/>
      <p:bldP spid="149"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p:cNvSpPr/>
          <p:nvPr/>
        </p:nvSpPr>
        <p:spPr>
          <a:xfrm>
            <a:off x="1217930" y="181610"/>
            <a:ext cx="322326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spcBef>
                <a:spcPct val="0"/>
              </a:spcBef>
            </a:pPr>
            <a:endPar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l">
              <a:spcBef>
                <a:spcPct val="0"/>
              </a:spcBef>
            </a:pP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接口设计</a:t>
            </a: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及类图</a:t>
            </a: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ct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p:txBody>
      </p:sp>
      <p:sp>
        <p:nvSpPr>
          <p:cNvPr id="8" name="文本框 7"/>
          <p:cNvSpPr txBox="1"/>
          <p:nvPr/>
        </p:nvSpPr>
        <p:spPr>
          <a:xfrm>
            <a:off x="10114915" y="5436870"/>
            <a:ext cx="1773555" cy="706755"/>
          </a:xfrm>
          <a:prstGeom prst="rect">
            <a:avLst/>
          </a:prstGeom>
          <a:noFill/>
        </p:spPr>
        <p:txBody>
          <a:bodyPr wrap="square" rtlCol="0">
            <a:spAutoFit/>
          </a:bodyPr>
          <a:p>
            <a:pPr algn="r"/>
            <a:r>
              <a:rPr lang="zh-CN" altLang="en-US" sz="4000">
                <a:solidFill>
                  <a:srgbClr val="746760"/>
                </a:solidFill>
                <a:latin typeface="汉仪粗圆简" panose="02010600000101010101" charset="-122"/>
                <a:ea typeface="汉仪粗圆简" panose="02010600000101010101" charset="-122"/>
              </a:rPr>
              <a:t>框架</a:t>
            </a:r>
            <a:endParaRPr lang="zh-CN" altLang="en-US" sz="4000">
              <a:solidFill>
                <a:srgbClr val="746760"/>
              </a:solidFill>
              <a:latin typeface="汉仪粗圆简" panose="02010600000101010101" charset="-122"/>
              <a:ea typeface="汉仪粗圆简" panose="02010600000101010101" charset="-122"/>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12" name="图片 12"/>
          <p:cNvPicPr>
            <a:picLocks noChangeAspect="1"/>
          </p:cNvPicPr>
          <p:nvPr/>
        </p:nvPicPr>
        <p:blipFill>
          <a:blip r:embed="rId1" cstate="print">
            <a:extLst>
              <a:ext uri="{28A0092B-C50C-407E-A947-70E740481C1C}">
                <a14:useLocalDpi xmlns:a14="http://schemas.microsoft.com/office/drawing/2010/main" val="0"/>
              </a:ext>
            </a:extLst>
          </a:blip>
          <a:srcRect l="-163" r="-3474" b="1615"/>
          <a:stretch>
            <a:fillRect/>
          </a:stretch>
        </p:blipFill>
        <p:spPr>
          <a:xfrm>
            <a:off x="2224405" y="21590"/>
            <a:ext cx="7437755" cy="6814185"/>
          </a:xfrm>
          <a:prstGeom prst="rect">
            <a:avLst/>
          </a:prstGeom>
        </p:spPr>
      </p:pic>
      <p:sp>
        <p:nvSpPr>
          <p:cNvPr id="39" name="矩形 38"/>
          <p:cNvSpPr/>
          <p:nvPr/>
        </p:nvSpPr>
        <p:spPr>
          <a:xfrm>
            <a:off x="494030" y="1210945"/>
            <a:ext cx="723900" cy="3190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接口设计及类</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p:cNvSpPr/>
          <p:nvPr/>
        </p:nvSpPr>
        <p:spPr>
          <a:xfrm>
            <a:off x="1217930" y="181610"/>
            <a:ext cx="7303135"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spcBef>
                <a:spcPct val="0"/>
              </a:spcBef>
            </a:pPr>
            <a:endPar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l">
              <a:spcBef>
                <a:spcPct val="0"/>
              </a:spcBef>
            </a:pP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接口设计及类图</a:t>
            </a: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ct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p:txBody>
      </p:sp>
      <p:pic>
        <p:nvPicPr>
          <p:cNvPr id="13" name="图片 13"/>
          <p:cNvPicPr>
            <a:picLocks noChangeAspect="1"/>
          </p:cNvPicPr>
          <p:nvPr/>
        </p:nvPicPr>
        <p:blipFill>
          <a:blip r:embed="rId1" cstate="print">
            <a:extLst>
              <a:ext uri="{28A0092B-C50C-407E-A947-70E740481C1C}">
                <a14:useLocalDpi xmlns:a14="http://schemas.microsoft.com/office/drawing/2010/main" val="0"/>
              </a:ext>
            </a:extLst>
          </a:blip>
          <a:srcRect l="4813" r="3817"/>
          <a:stretch>
            <a:fillRect/>
          </a:stretch>
        </p:blipFill>
        <p:spPr>
          <a:xfrm>
            <a:off x="1217930" y="1022350"/>
            <a:ext cx="9893935" cy="5022215"/>
          </a:xfrm>
          <a:prstGeom prst="rect">
            <a:avLst/>
          </a:prstGeom>
        </p:spPr>
      </p:pic>
      <p:sp>
        <p:nvSpPr>
          <p:cNvPr id="8" name="文本框 7"/>
          <p:cNvSpPr txBox="1"/>
          <p:nvPr/>
        </p:nvSpPr>
        <p:spPr>
          <a:xfrm>
            <a:off x="10114915" y="5436870"/>
            <a:ext cx="1773555" cy="706755"/>
          </a:xfrm>
          <a:prstGeom prst="rect">
            <a:avLst/>
          </a:prstGeom>
          <a:noFill/>
        </p:spPr>
        <p:txBody>
          <a:bodyPr wrap="square" rtlCol="0">
            <a:spAutoFit/>
          </a:bodyPr>
          <a:p>
            <a:pPr algn="r"/>
            <a:r>
              <a:rPr lang="zh-CN" altLang="en-US" sz="4000">
                <a:solidFill>
                  <a:srgbClr val="746760"/>
                </a:solidFill>
                <a:latin typeface="汉仪粗圆简" panose="02010600000101010101" charset="-122"/>
                <a:ea typeface="汉仪粗圆简" panose="02010600000101010101" charset="-122"/>
              </a:rPr>
              <a:t>工具</a:t>
            </a:r>
            <a:endParaRPr lang="zh-CN" altLang="en-US" sz="4000">
              <a:solidFill>
                <a:srgbClr val="746760"/>
              </a:solidFill>
              <a:latin typeface="汉仪粗圆简" panose="02010600000101010101" charset="-122"/>
              <a:ea typeface="汉仪粗圆简" panose="02010600000101010101" charset="-122"/>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9" name="矩形 38"/>
          <p:cNvSpPr/>
          <p:nvPr/>
        </p:nvSpPr>
        <p:spPr>
          <a:xfrm>
            <a:off x="494030" y="1210945"/>
            <a:ext cx="723900" cy="3190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接口设计及类</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数据流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2" name="图片 1" descr="数据流图"/>
          <p:cNvPicPr>
            <a:picLocks noChangeAspect="1"/>
          </p:cNvPicPr>
          <p:nvPr/>
        </p:nvPicPr>
        <p:blipFill>
          <a:blip r:embed="rId1"/>
          <a:srcRect t="4547" b="2653"/>
          <a:stretch>
            <a:fillRect/>
          </a:stretch>
        </p:blipFill>
        <p:spPr>
          <a:xfrm>
            <a:off x="1989455" y="181610"/>
            <a:ext cx="8213725" cy="6295390"/>
          </a:xfrm>
          <a:prstGeom prst="rect">
            <a:avLst/>
          </a:prstGeom>
        </p:spPr>
      </p:pic>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9" name="矩形 38"/>
          <p:cNvSpPr/>
          <p:nvPr/>
        </p:nvSpPr>
        <p:spPr>
          <a:xfrm>
            <a:off x="494030" y="1210945"/>
            <a:ext cx="723900" cy="16389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数据流</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1797141"/>
            <a:ext cx="12192000" cy="3263718"/>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rot="18900000">
            <a:off x="5154557" y="1936338"/>
            <a:ext cx="2985324" cy="2985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18900000">
            <a:off x="3585301" y="3886003"/>
            <a:ext cx="1724108" cy="1724108"/>
          </a:xfrm>
          <a:prstGeom prst="rect">
            <a:avLst/>
          </a:prstGeom>
          <a:solidFill>
            <a:schemeClr val="accent1"/>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18900000">
            <a:off x="2273566" y="2581459"/>
            <a:ext cx="1724108" cy="1724108"/>
          </a:xfrm>
          <a:prstGeom prst="rect">
            <a:avLst/>
          </a:prstGeom>
          <a:solidFill>
            <a:schemeClr val="accent3"/>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18900000">
            <a:off x="3582373" y="1249635"/>
            <a:ext cx="1724108" cy="1724108"/>
          </a:xfrm>
          <a:prstGeom prst="rect">
            <a:avLst/>
          </a:prstGeom>
          <a:solidFill>
            <a:schemeClr val="accent2"/>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文本框 12"/>
          <p:cNvSpPr txBox="1"/>
          <p:nvPr/>
        </p:nvSpPr>
        <p:spPr>
          <a:xfrm>
            <a:off x="5946925" y="2327699"/>
            <a:ext cx="1207454" cy="1003102"/>
          </a:xfrm>
          <a:prstGeom prst="rect">
            <a:avLst/>
          </a:prstGeom>
          <a:noFill/>
          <a:ln w="117475">
            <a:noFill/>
          </a:ln>
        </p:spPr>
        <p:txBody>
          <a:bodyPr wrap="none" rtlCol="0">
            <a:prstTxWarp prst="textPlain">
              <a:avLst/>
            </a:prstTxWarp>
            <a:spAutoFit/>
          </a:bodyPr>
          <a:lstStyle/>
          <a:p>
            <a:r>
              <a:rPr lang="en-US" altLang="zh-CN"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3</a:t>
            </a:r>
            <a:endParaRPr lang="zh-CN" altLang="en-US"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
        <p:nvSpPr>
          <p:cNvPr id="15" name="矩形 14"/>
          <p:cNvSpPr/>
          <p:nvPr/>
        </p:nvSpPr>
        <p:spPr>
          <a:xfrm>
            <a:off x="5264150" y="3397885"/>
            <a:ext cx="2766695" cy="1076325"/>
          </a:xfrm>
          <a:prstGeom prst="rect">
            <a:avLst/>
          </a:prstGeom>
        </p:spPr>
        <p:txBody>
          <a:bodyPr wrap="square">
            <a:spAutoFit/>
          </a:bodyPr>
          <a:lstStyle/>
          <a:p>
            <a:pPr algn="ctr"/>
            <a:r>
              <a:rPr lang="zh-CN" altLang="en-US" sz="3200" dirty="0">
                <a:latin typeface="汉仪粗圆简" panose="02010600000101010101" charset="-122"/>
                <a:ea typeface="汉仪粗圆简" panose="02010600000101010101" charset="-122"/>
                <a:sym typeface="思源黑体" panose="020B0400000000000000" pitchFamily="34" charset="-122"/>
              </a:rPr>
              <a:t>系统安全性和</a:t>
            </a:r>
            <a:r>
              <a:rPr lang="zh-CN" altLang="en-US" sz="3200" dirty="0">
                <a:latin typeface="汉仪粗圆简" panose="02010600000101010101" charset="-122"/>
                <a:ea typeface="汉仪粗圆简" panose="02010600000101010101" charset="-122"/>
                <a:sym typeface="思源黑体" panose="020B0400000000000000" pitchFamily="34" charset="-122"/>
              </a:rPr>
              <a:t>健壮性</a:t>
            </a:r>
            <a:endParaRPr lang="zh-CN" altLang="en-US" sz="3200" dirty="0">
              <a:latin typeface="汉仪粗圆简" panose="02010600000101010101" charset="-122"/>
              <a:ea typeface="汉仪粗圆简" panose="02010600000101010101" charset="-122"/>
              <a:sym typeface="思源黑体" panose="020B0400000000000000" pitchFamily="34" charset="-122"/>
            </a:endParaRPr>
          </a:p>
        </p:txBody>
      </p:sp>
      <p:grpSp>
        <p:nvGrpSpPr>
          <p:cNvPr id="5" name="组合 4"/>
          <p:cNvGrpSpPr/>
          <p:nvPr/>
        </p:nvGrpSpPr>
        <p:grpSpPr>
          <a:xfrm>
            <a:off x="4612405" y="1091381"/>
            <a:ext cx="4069626" cy="4599650"/>
            <a:chOff x="5550217" y="1317873"/>
            <a:chExt cx="3668840" cy="4146666"/>
          </a:xfrm>
        </p:grpSpPr>
        <p:sp>
          <p:nvSpPr>
            <p:cNvPr id="16" name="矩形 22"/>
            <p:cNvSpPr/>
            <p:nvPr/>
          </p:nvSpPr>
          <p:spPr>
            <a:xfrm rot="18900000" flipV="1">
              <a:off x="5550217" y="1317873"/>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22"/>
            <p:cNvSpPr/>
            <p:nvPr/>
          </p:nvSpPr>
          <p:spPr>
            <a:xfrm rot="2700000">
              <a:off x="5550217" y="1795699"/>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8" name="iconfont-10459-4813179"/>
          <p:cNvSpPr>
            <a:spLocks noChangeAspect="1"/>
          </p:cNvSpPr>
          <p:nvPr/>
        </p:nvSpPr>
        <p:spPr bwMode="auto">
          <a:xfrm>
            <a:off x="4231433" y="1797141"/>
            <a:ext cx="609685" cy="600087"/>
          </a:xfrm>
          <a:custGeom>
            <a:avLst/>
            <a:gdLst>
              <a:gd name="T0" fmla="*/ 5779 w 11379"/>
              <a:gd name="T1" fmla="*/ 0 h 11200"/>
              <a:gd name="T2" fmla="*/ 711 w 11379"/>
              <a:gd name="T3" fmla="*/ 3215 h 11200"/>
              <a:gd name="T4" fmla="*/ 711 w 11379"/>
              <a:gd name="T5" fmla="*/ 7985 h 11200"/>
              <a:gd name="T6" fmla="*/ 5779 w 11379"/>
              <a:gd name="T7" fmla="*/ 11200 h 11200"/>
              <a:gd name="T8" fmla="*/ 11379 w 11379"/>
              <a:gd name="T9" fmla="*/ 5600 h 11200"/>
              <a:gd name="T10" fmla="*/ 5779 w 11379"/>
              <a:gd name="T11" fmla="*/ 0 h 11200"/>
              <a:gd name="T12" fmla="*/ 979 w 11379"/>
              <a:gd name="T13" fmla="*/ 5600 h 11200"/>
              <a:gd name="T14" fmla="*/ 1244 w 11379"/>
              <a:gd name="T15" fmla="*/ 4022 h 11200"/>
              <a:gd name="T16" fmla="*/ 2581 w 11379"/>
              <a:gd name="T17" fmla="*/ 5600 h 11200"/>
              <a:gd name="T18" fmla="*/ 1244 w 11379"/>
              <a:gd name="T19" fmla="*/ 7178 h 11200"/>
              <a:gd name="T20" fmla="*/ 979 w 11379"/>
              <a:gd name="T21" fmla="*/ 5600 h 11200"/>
              <a:gd name="T22" fmla="*/ 9173 w 11379"/>
              <a:gd name="T23" fmla="*/ 8994 h 11200"/>
              <a:gd name="T24" fmla="*/ 5109 w 11379"/>
              <a:gd name="T25" fmla="*/ 10352 h 11200"/>
              <a:gd name="T26" fmla="*/ 1578 w 11379"/>
              <a:gd name="T27" fmla="*/ 7925 h 11200"/>
              <a:gd name="T28" fmla="*/ 3379 w 11379"/>
              <a:gd name="T29" fmla="*/ 5600 h 11200"/>
              <a:gd name="T30" fmla="*/ 1578 w 11379"/>
              <a:gd name="T31" fmla="*/ 3276 h 11200"/>
              <a:gd name="T32" fmla="*/ 4778 w 11379"/>
              <a:gd name="T33" fmla="*/ 901 h 11200"/>
              <a:gd name="T34" fmla="*/ 8669 w 11379"/>
              <a:gd name="T35" fmla="*/ 1761 h 11200"/>
              <a:gd name="T36" fmla="*/ 10571 w 11379"/>
              <a:gd name="T37" fmla="*/ 5263 h 11200"/>
              <a:gd name="T38" fmla="*/ 9173 w 11379"/>
              <a:gd name="T39" fmla="*/ 8994 h 11200"/>
              <a:gd name="T40" fmla="*/ 10179 w 11379"/>
              <a:gd name="T41" fmla="*/ 2400 h 11200"/>
              <a:gd name="T42" fmla="*/ 1379 w 11379"/>
              <a:gd name="T43" fmla="*/ 2400 h 11200"/>
              <a:gd name="T44" fmla="*/ 1379 w 11379"/>
              <a:gd name="T45" fmla="*/ 3200 h 11200"/>
              <a:gd name="T46" fmla="*/ 10179 w 11379"/>
              <a:gd name="T47" fmla="*/ 3200 h 11200"/>
              <a:gd name="T48" fmla="*/ 10179 w 11379"/>
              <a:gd name="T49" fmla="*/ 2400 h 11200"/>
              <a:gd name="T50" fmla="*/ 10179 w 11379"/>
              <a:gd name="T51" fmla="*/ 8000 h 11200"/>
              <a:gd name="T52" fmla="*/ 1379 w 11379"/>
              <a:gd name="T53" fmla="*/ 8000 h 11200"/>
              <a:gd name="T54" fmla="*/ 1379 w 11379"/>
              <a:gd name="T55" fmla="*/ 8800 h 11200"/>
              <a:gd name="T56" fmla="*/ 10179 w 11379"/>
              <a:gd name="T57" fmla="*/ 8800 h 11200"/>
              <a:gd name="T58" fmla="*/ 10179 w 11379"/>
              <a:gd name="T59" fmla="*/ 8000 h 11200"/>
              <a:gd name="T60" fmla="*/ 5379 w 11379"/>
              <a:gd name="T61" fmla="*/ 3600 h 11200"/>
              <a:gd name="T62" fmla="*/ 3779 w 11379"/>
              <a:gd name="T63" fmla="*/ 3600 h 11200"/>
              <a:gd name="T64" fmla="*/ 3779 w 11379"/>
              <a:gd name="T65" fmla="*/ 5200 h 11200"/>
              <a:gd name="T66" fmla="*/ 5379 w 11379"/>
              <a:gd name="T67" fmla="*/ 5200 h 11200"/>
              <a:gd name="T68" fmla="*/ 5379 w 11379"/>
              <a:gd name="T69" fmla="*/ 3600 h 11200"/>
              <a:gd name="T70" fmla="*/ 5379 w 11379"/>
              <a:gd name="T71" fmla="*/ 6000 h 11200"/>
              <a:gd name="T72" fmla="*/ 3779 w 11379"/>
              <a:gd name="T73" fmla="*/ 6000 h 11200"/>
              <a:gd name="T74" fmla="*/ 3779 w 11379"/>
              <a:gd name="T75" fmla="*/ 7600 h 11200"/>
              <a:gd name="T76" fmla="*/ 5379 w 11379"/>
              <a:gd name="T77" fmla="*/ 7600 h 11200"/>
              <a:gd name="T78" fmla="*/ 5379 w 11379"/>
              <a:gd name="T79" fmla="*/ 6000 h 11200"/>
              <a:gd name="T80" fmla="*/ 7379 w 11379"/>
              <a:gd name="T81" fmla="*/ 3600 h 11200"/>
              <a:gd name="T82" fmla="*/ 5779 w 11379"/>
              <a:gd name="T83" fmla="*/ 3600 h 11200"/>
              <a:gd name="T84" fmla="*/ 5779 w 11379"/>
              <a:gd name="T85" fmla="*/ 5200 h 11200"/>
              <a:gd name="T86" fmla="*/ 7379 w 11379"/>
              <a:gd name="T87" fmla="*/ 5200 h 11200"/>
              <a:gd name="T88" fmla="*/ 7379 w 11379"/>
              <a:gd name="T89" fmla="*/ 3600 h 11200"/>
              <a:gd name="T90" fmla="*/ 7379 w 11379"/>
              <a:gd name="T91" fmla="*/ 6000 h 11200"/>
              <a:gd name="T92" fmla="*/ 5779 w 11379"/>
              <a:gd name="T93" fmla="*/ 6000 h 11200"/>
              <a:gd name="T94" fmla="*/ 5779 w 11379"/>
              <a:gd name="T95" fmla="*/ 7600 h 11200"/>
              <a:gd name="T96" fmla="*/ 7379 w 11379"/>
              <a:gd name="T97" fmla="*/ 7600 h 11200"/>
              <a:gd name="T98" fmla="*/ 7379 w 11379"/>
              <a:gd name="T99" fmla="*/ 6000 h 11200"/>
              <a:gd name="T100" fmla="*/ 9379 w 11379"/>
              <a:gd name="T101" fmla="*/ 3600 h 11200"/>
              <a:gd name="T102" fmla="*/ 7779 w 11379"/>
              <a:gd name="T103" fmla="*/ 3600 h 11200"/>
              <a:gd name="T104" fmla="*/ 7779 w 11379"/>
              <a:gd name="T105" fmla="*/ 5200 h 11200"/>
              <a:gd name="T106" fmla="*/ 9379 w 11379"/>
              <a:gd name="T107" fmla="*/ 5200 h 11200"/>
              <a:gd name="T108" fmla="*/ 9379 w 11379"/>
              <a:gd name="T109" fmla="*/ 3600 h 11200"/>
              <a:gd name="T110" fmla="*/ 9379 w 11379"/>
              <a:gd name="T111" fmla="*/ 6000 h 11200"/>
              <a:gd name="T112" fmla="*/ 7779 w 11379"/>
              <a:gd name="T113" fmla="*/ 6000 h 11200"/>
              <a:gd name="T114" fmla="*/ 7779 w 11379"/>
              <a:gd name="T115" fmla="*/ 7600 h 11200"/>
              <a:gd name="T116" fmla="*/ 9379 w 11379"/>
              <a:gd name="T117" fmla="*/ 7600 h 11200"/>
              <a:gd name="T118" fmla="*/ 9379 w 11379"/>
              <a:gd name="T119" fmla="*/ 60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9" h="11200">
                <a:moveTo>
                  <a:pt x="5779" y="0"/>
                </a:moveTo>
                <a:cubicBezTo>
                  <a:pt x="3539" y="0"/>
                  <a:pt x="1607" y="1315"/>
                  <a:pt x="711" y="3215"/>
                </a:cubicBezTo>
                <a:cubicBezTo>
                  <a:pt x="0" y="4726"/>
                  <a:pt x="0" y="6474"/>
                  <a:pt x="711" y="7985"/>
                </a:cubicBezTo>
                <a:cubicBezTo>
                  <a:pt x="1607" y="9885"/>
                  <a:pt x="3539" y="11200"/>
                  <a:pt x="5779" y="11200"/>
                </a:cubicBezTo>
                <a:cubicBezTo>
                  <a:pt x="8872" y="11200"/>
                  <a:pt x="11379" y="8693"/>
                  <a:pt x="11379" y="5600"/>
                </a:cubicBezTo>
                <a:cubicBezTo>
                  <a:pt x="11379" y="2507"/>
                  <a:pt x="8872" y="0"/>
                  <a:pt x="5779" y="0"/>
                </a:cubicBezTo>
                <a:close/>
                <a:moveTo>
                  <a:pt x="979" y="5600"/>
                </a:moveTo>
                <a:cubicBezTo>
                  <a:pt x="978" y="5063"/>
                  <a:pt x="1068" y="4529"/>
                  <a:pt x="1244" y="4022"/>
                </a:cubicBezTo>
                <a:cubicBezTo>
                  <a:pt x="2016" y="4151"/>
                  <a:pt x="2581" y="4818"/>
                  <a:pt x="2581" y="5600"/>
                </a:cubicBezTo>
                <a:cubicBezTo>
                  <a:pt x="2581" y="6382"/>
                  <a:pt x="2016" y="7050"/>
                  <a:pt x="1244" y="7178"/>
                </a:cubicBezTo>
                <a:cubicBezTo>
                  <a:pt x="1068" y="6671"/>
                  <a:pt x="978" y="6137"/>
                  <a:pt x="979" y="5600"/>
                </a:cubicBezTo>
                <a:close/>
                <a:moveTo>
                  <a:pt x="9173" y="8994"/>
                </a:moveTo>
                <a:cubicBezTo>
                  <a:pt x="8107" y="10059"/>
                  <a:pt x="6602" y="10562"/>
                  <a:pt x="5109" y="10352"/>
                </a:cubicBezTo>
                <a:cubicBezTo>
                  <a:pt x="3617" y="10142"/>
                  <a:pt x="2309" y="9243"/>
                  <a:pt x="1578" y="7925"/>
                </a:cubicBezTo>
                <a:cubicBezTo>
                  <a:pt x="2638" y="7651"/>
                  <a:pt x="3379" y="6695"/>
                  <a:pt x="3379" y="5600"/>
                </a:cubicBezTo>
                <a:cubicBezTo>
                  <a:pt x="3379" y="4506"/>
                  <a:pt x="2638" y="3549"/>
                  <a:pt x="1578" y="3276"/>
                </a:cubicBezTo>
                <a:cubicBezTo>
                  <a:pt x="2251" y="2058"/>
                  <a:pt x="3418" y="1192"/>
                  <a:pt x="4778" y="901"/>
                </a:cubicBezTo>
                <a:cubicBezTo>
                  <a:pt x="6138" y="611"/>
                  <a:pt x="7558" y="924"/>
                  <a:pt x="8669" y="1761"/>
                </a:cubicBezTo>
                <a:cubicBezTo>
                  <a:pt x="9780" y="2598"/>
                  <a:pt x="10474" y="3875"/>
                  <a:pt x="10571" y="5263"/>
                </a:cubicBezTo>
                <a:cubicBezTo>
                  <a:pt x="10667" y="6650"/>
                  <a:pt x="10157" y="8011"/>
                  <a:pt x="9173" y="8994"/>
                </a:cubicBezTo>
                <a:close/>
                <a:moveTo>
                  <a:pt x="10179" y="2400"/>
                </a:moveTo>
                <a:lnTo>
                  <a:pt x="1379" y="2400"/>
                </a:lnTo>
                <a:lnTo>
                  <a:pt x="1379" y="3200"/>
                </a:lnTo>
                <a:lnTo>
                  <a:pt x="10179" y="3200"/>
                </a:lnTo>
                <a:lnTo>
                  <a:pt x="10179" y="2400"/>
                </a:lnTo>
                <a:close/>
                <a:moveTo>
                  <a:pt x="10179" y="8000"/>
                </a:moveTo>
                <a:lnTo>
                  <a:pt x="1379" y="8000"/>
                </a:lnTo>
                <a:lnTo>
                  <a:pt x="1379" y="8800"/>
                </a:lnTo>
                <a:lnTo>
                  <a:pt x="10179" y="8800"/>
                </a:lnTo>
                <a:lnTo>
                  <a:pt x="10179" y="8000"/>
                </a:lnTo>
                <a:close/>
                <a:moveTo>
                  <a:pt x="5379" y="3600"/>
                </a:moveTo>
                <a:lnTo>
                  <a:pt x="3779" y="3600"/>
                </a:lnTo>
                <a:lnTo>
                  <a:pt x="3779" y="5200"/>
                </a:lnTo>
                <a:lnTo>
                  <a:pt x="5379" y="5200"/>
                </a:lnTo>
                <a:lnTo>
                  <a:pt x="5379" y="3600"/>
                </a:lnTo>
                <a:close/>
                <a:moveTo>
                  <a:pt x="5379" y="6000"/>
                </a:moveTo>
                <a:lnTo>
                  <a:pt x="3779" y="6000"/>
                </a:lnTo>
                <a:lnTo>
                  <a:pt x="3779" y="7600"/>
                </a:lnTo>
                <a:lnTo>
                  <a:pt x="5379" y="7600"/>
                </a:lnTo>
                <a:lnTo>
                  <a:pt x="5379" y="6000"/>
                </a:lnTo>
                <a:close/>
                <a:moveTo>
                  <a:pt x="7379" y="3600"/>
                </a:moveTo>
                <a:lnTo>
                  <a:pt x="5779" y="3600"/>
                </a:lnTo>
                <a:lnTo>
                  <a:pt x="5779" y="5200"/>
                </a:lnTo>
                <a:lnTo>
                  <a:pt x="7379" y="5200"/>
                </a:lnTo>
                <a:lnTo>
                  <a:pt x="7379" y="3600"/>
                </a:lnTo>
                <a:close/>
                <a:moveTo>
                  <a:pt x="7379" y="6000"/>
                </a:moveTo>
                <a:lnTo>
                  <a:pt x="5779" y="6000"/>
                </a:lnTo>
                <a:lnTo>
                  <a:pt x="5779" y="7600"/>
                </a:lnTo>
                <a:lnTo>
                  <a:pt x="7379" y="7600"/>
                </a:lnTo>
                <a:lnTo>
                  <a:pt x="7379" y="6000"/>
                </a:lnTo>
                <a:close/>
                <a:moveTo>
                  <a:pt x="9379" y="3600"/>
                </a:moveTo>
                <a:lnTo>
                  <a:pt x="7779" y="3600"/>
                </a:lnTo>
                <a:lnTo>
                  <a:pt x="7779" y="5200"/>
                </a:lnTo>
                <a:lnTo>
                  <a:pt x="9379" y="5200"/>
                </a:lnTo>
                <a:lnTo>
                  <a:pt x="9379" y="3600"/>
                </a:lnTo>
                <a:close/>
                <a:moveTo>
                  <a:pt x="9379" y="6000"/>
                </a:moveTo>
                <a:lnTo>
                  <a:pt x="7779" y="6000"/>
                </a:lnTo>
                <a:lnTo>
                  <a:pt x="7779" y="7600"/>
                </a:lnTo>
                <a:lnTo>
                  <a:pt x="9379" y="7600"/>
                </a:lnTo>
                <a:lnTo>
                  <a:pt x="9379" y="6000"/>
                </a:lnTo>
                <a:close/>
              </a:path>
            </a:pathLst>
          </a:custGeom>
          <a:solidFill>
            <a:schemeClr val="bg1"/>
          </a:solidFill>
          <a:ln>
            <a:noFill/>
          </a:ln>
        </p:spPr>
      </p:sp>
      <p:sp>
        <p:nvSpPr>
          <p:cNvPr id="19" name="iconfont-10459-4813181"/>
          <p:cNvSpPr>
            <a:spLocks noChangeAspect="1"/>
          </p:cNvSpPr>
          <p:nvPr/>
        </p:nvSpPr>
        <p:spPr bwMode="auto">
          <a:xfrm>
            <a:off x="2864696" y="3215149"/>
            <a:ext cx="609685" cy="597919"/>
          </a:xfrm>
          <a:custGeom>
            <a:avLst/>
            <a:gdLst>
              <a:gd name="T0" fmla="*/ 8480 w 11552"/>
              <a:gd name="T1" fmla="*/ 5776 h 11328"/>
              <a:gd name="T2" fmla="*/ 7632 w 11552"/>
              <a:gd name="T3" fmla="*/ 0 h 11328"/>
              <a:gd name="T4" fmla="*/ 0 w 11552"/>
              <a:gd name="T5" fmla="*/ 848 h 11328"/>
              <a:gd name="T6" fmla="*/ 848 w 11552"/>
              <a:gd name="T7" fmla="*/ 11328 h 11328"/>
              <a:gd name="T8" fmla="*/ 6032 w 11552"/>
              <a:gd name="T9" fmla="*/ 6656 h 11328"/>
              <a:gd name="T10" fmla="*/ 2048 w 11552"/>
              <a:gd name="T11" fmla="*/ 1392 h 11328"/>
              <a:gd name="T12" fmla="*/ 7152 w 11552"/>
              <a:gd name="T13" fmla="*/ 2096 h 11328"/>
              <a:gd name="T14" fmla="*/ 2048 w 11552"/>
              <a:gd name="T15" fmla="*/ 2800 h 11328"/>
              <a:gd name="T16" fmla="*/ 2048 w 11552"/>
              <a:gd name="T17" fmla="*/ 1392 h 11328"/>
              <a:gd name="T18" fmla="*/ 2048 w 11552"/>
              <a:gd name="T19" fmla="*/ 3552 h 11328"/>
              <a:gd name="T20" fmla="*/ 7152 w 11552"/>
              <a:gd name="T21" fmla="*/ 4256 h 11328"/>
              <a:gd name="T22" fmla="*/ 2048 w 11552"/>
              <a:gd name="T23" fmla="*/ 4960 h 11328"/>
              <a:gd name="T24" fmla="*/ 4240 w 11552"/>
              <a:gd name="T25" fmla="*/ 8160 h 11328"/>
              <a:gd name="T26" fmla="*/ 4240 w 11552"/>
              <a:gd name="T27" fmla="*/ 6080 h 11328"/>
              <a:gd name="T28" fmla="*/ 4240 w 11552"/>
              <a:gd name="T29" fmla="*/ 8160 h 11328"/>
              <a:gd name="T30" fmla="*/ 6512 w 11552"/>
              <a:gd name="T31" fmla="*/ 9088 h 11328"/>
              <a:gd name="T32" fmla="*/ 7632 w 11552"/>
              <a:gd name="T33" fmla="*/ 10768 h 11328"/>
              <a:gd name="T34" fmla="*/ 7632 w 11552"/>
              <a:gd name="T35" fmla="*/ 8528 h 11328"/>
              <a:gd name="T36" fmla="*/ 9552 w 11552"/>
              <a:gd name="T37" fmla="*/ 8400 h 11328"/>
              <a:gd name="T38" fmla="*/ 9168 w 11552"/>
              <a:gd name="T39" fmla="*/ 7824 h 11328"/>
              <a:gd name="T40" fmla="*/ 8976 w 11552"/>
              <a:gd name="T41" fmla="*/ 8208 h 11328"/>
              <a:gd name="T42" fmla="*/ 8896 w 11552"/>
              <a:gd name="T43" fmla="*/ 9264 h 11328"/>
              <a:gd name="T44" fmla="*/ 9104 w 11552"/>
              <a:gd name="T45" fmla="*/ 9632 h 11328"/>
              <a:gd name="T46" fmla="*/ 9552 w 11552"/>
              <a:gd name="T47" fmla="*/ 8400 h 11328"/>
              <a:gd name="T48" fmla="*/ 10480 w 11552"/>
              <a:gd name="T49" fmla="*/ 8128 h 11328"/>
              <a:gd name="T50" fmla="*/ 9824 w 11552"/>
              <a:gd name="T51" fmla="*/ 7216 h 11328"/>
              <a:gd name="T52" fmla="*/ 9664 w 11552"/>
              <a:gd name="T53" fmla="*/ 7632 h 11328"/>
              <a:gd name="T54" fmla="*/ 9520 w 11552"/>
              <a:gd name="T55" fmla="*/ 9888 h 11328"/>
              <a:gd name="T56" fmla="*/ 9696 w 11552"/>
              <a:gd name="T57" fmla="*/ 10288 h 11328"/>
              <a:gd name="T58" fmla="*/ 10496 w 11552"/>
              <a:gd name="T59" fmla="*/ 9072 h 11328"/>
              <a:gd name="T60" fmla="*/ 10768 w 11552"/>
              <a:gd name="T61" fmla="*/ 6688 h 11328"/>
              <a:gd name="T62" fmla="*/ 10336 w 11552"/>
              <a:gd name="T63" fmla="*/ 6832 h 11328"/>
              <a:gd name="T64" fmla="*/ 10896 w 11552"/>
              <a:gd name="T65" fmla="*/ 9520 h 11328"/>
              <a:gd name="T66" fmla="*/ 10128 w 11552"/>
              <a:gd name="T67" fmla="*/ 10784 h 11328"/>
              <a:gd name="T68" fmla="*/ 10528 w 11552"/>
              <a:gd name="T69" fmla="*/ 10960 h 11328"/>
              <a:gd name="T70" fmla="*/ 11504 w 11552"/>
              <a:gd name="T71" fmla="*/ 8336 h 1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2" h="11328">
                <a:moveTo>
                  <a:pt x="6928" y="5776"/>
                </a:moveTo>
                <a:lnTo>
                  <a:pt x="8480" y="5776"/>
                </a:lnTo>
                <a:lnTo>
                  <a:pt x="8480" y="848"/>
                </a:lnTo>
                <a:cubicBezTo>
                  <a:pt x="8480" y="384"/>
                  <a:pt x="8096" y="0"/>
                  <a:pt x="7632" y="0"/>
                </a:cubicBezTo>
                <a:lnTo>
                  <a:pt x="864" y="0"/>
                </a:lnTo>
                <a:cubicBezTo>
                  <a:pt x="384" y="0"/>
                  <a:pt x="0" y="384"/>
                  <a:pt x="0" y="848"/>
                </a:cubicBezTo>
                <a:lnTo>
                  <a:pt x="0" y="10480"/>
                </a:lnTo>
                <a:cubicBezTo>
                  <a:pt x="0" y="10944"/>
                  <a:pt x="384" y="11328"/>
                  <a:pt x="848" y="11328"/>
                </a:cubicBezTo>
                <a:lnTo>
                  <a:pt x="6032" y="11328"/>
                </a:lnTo>
                <a:lnTo>
                  <a:pt x="6032" y="6656"/>
                </a:lnTo>
                <a:cubicBezTo>
                  <a:pt x="6048" y="6176"/>
                  <a:pt x="6448" y="5776"/>
                  <a:pt x="6928" y="5776"/>
                </a:cubicBezTo>
                <a:close/>
                <a:moveTo>
                  <a:pt x="2048" y="1392"/>
                </a:moveTo>
                <a:lnTo>
                  <a:pt x="6448" y="1392"/>
                </a:lnTo>
                <a:cubicBezTo>
                  <a:pt x="6832" y="1392"/>
                  <a:pt x="7152" y="1712"/>
                  <a:pt x="7152" y="2096"/>
                </a:cubicBezTo>
                <a:cubicBezTo>
                  <a:pt x="7152" y="2480"/>
                  <a:pt x="6832" y="2800"/>
                  <a:pt x="6448" y="2800"/>
                </a:cubicBezTo>
                <a:lnTo>
                  <a:pt x="2048" y="2800"/>
                </a:lnTo>
                <a:cubicBezTo>
                  <a:pt x="1664" y="2800"/>
                  <a:pt x="1344" y="2480"/>
                  <a:pt x="1344" y="2096"/>
                </a:cubicBezTo>
                <a:cubicBezTo>
                  <a:pt x="1344" y="1712"/>
                  <a:pt x="1664" y="1392"/>
                  <a:pt x="2048" y="1392"/>
                </a:cubicBezTo>
                <a:close/>
                <a:moveTo>
                  <a:pt x="1344" y="4256"/>
                </a:moveTo>
                <a:cubicBezTo>
                  <a:pt x="1344" y="3872"/>
                  <a:pt x="1664" y="3552"/>
                  <a:pt x="2048" y="3552"/>
                </a:cubicBezTo>
                <a:lnTo>
                  <a:pt x="6448" y="3552"/>
                </a:lnTo>
                <a:cubicBezTo>
                  <a:pt x="6832" y="3552"/>
                  <a:pt x="7152" y="3872"/>
                  <a:pt x="7152" y="4256"/>
                </a:cubicBezTo>
                <a:cubicBezTo>
                  <a:pt x="7152" y="4640"/>
                  <a:pt x="6832" y="4960"/>
                  <a:pt x="6448" y="4960"/>
                </a:cubicBezTo>
                <a:lnTo>
                  <a:pt x="2048" y="4960"/>
                </a:lnTo>
                <a:cubicBezTo>
                  <a:pt x="1664" y="4944"/>
                  <a:pt x="1344" y="4624"/>
                  <a:pt x="1344" y="4256"/>
                </a:cubicBezTo>
                <a:close/>
                <a:moveTo>
                  <a:pt x="4240" y="8160"/>
                </a:moveTo>
                <a:cubicBezTo>
                  <a:pt x="3664" y="8160"/>
                  <a:pt x="3200" y="7696"/>
                  <a:pt x="3200" y="7120"/>
                </a:cubicBezTo>
                <a:cubicBezTo>
                  <a:pt x="3200" y="6544"/>
                  <a:pt x="3664" y="6080"/>
                  <a:pt x="4240" y="6080"/>
                </a:cubicBezTo>
                <a:cubicBezTo>
                  <a:pt x="4816" y="6080"/>
                  <a:pt x="5280" y="6544"/>
                  <a:pt x="5280" y="7120"/>
                </a:cubicBezTo>
                <a:cubicBezTo>
                  <a:pt x="5296" y="7696"/>
                  <a:pt x="4832" y="8160"/>
                  <a:pt x="4240" y="8160"/>
                </a:cubicBezTo>
                <a:close/>
                <a:moveTo>
                  <a:pt x="7632" y="6848"/>
                </a:moveTo>
                <a:lnTo>
                  <a:pt x="6512" y="9088"/>
                </a:lnTo>
                <a:lnTo>
                  <a:pt x="7632" y="9088"/>
                </a:lnTo>
                <a:lnTo>
                  <a:pt x="7632" y="10768"/>
                </a:lnTo>
                <a:lnTo>
                  <a:pt x="8752" y="8528"/>
                </a:lnTo>
                <a:lnTo>
                  <a:pt x="7632" y="8528"/>
                </a:lnTo>
                <a:lnTo>
                  <a:pt x="7632" y="6848"/>
                </a:lnTo>
                <a:close/>
                <a:moveTo>
                  <a:pt x="9552" y="8400"/>
                </a:moveTo>
                <a:cubicBezTo>
                  <a:pt x="9504" y="8112"/>
                  <a:pt x="9376" y="7952"/>
                  <a:pt x="9360" y="7920"/>
                </a:cubicBezTo>
                <a:cubicBezTo>
                  <a:pt x="9312" y="7856"/>
                  <a:pt x="9248" y="7824"/>
                  <a:pt x="9168" y="7824"/>
                </a:cubicBezTo>
                <a:cubicBezTo>
                  <a:pt x="9040" y="7824"/>
                  <a:pt x="8928" y="7936"/>
                  <a:pt x="8928" y="8064"/>
                </a:cubicBezTo>
                <a:cubicBezTo>
                  <a:pt x="8928" y="8112"/>
                  <a:pt x="8944" y="8176"/>
                  <a:pt x="8976" y="8208"/>
                </a:cubicBezTo>
                <a:cubicBezTo>
                  <a:pt x="8976" y="8208"/>
                  <a:pt x="9040" y="8304"/>
                  <a:pt x="9072" y="8480"/>
                </a:cubicBezTo>
                <a:cubicBezTo>
                  <a:pt x="9120" y="8736"/>
                  <a:pt x="9056" y="8992"/>
                  <a:pt x="8896" y="9264"/>
                </a:cubicBezTo>
                <a:cubicBezTo>
                  <a:pt x="8880" y="9296"/>
                  <a:pt x="8864" y="9344"/>
                  <a:pt x="8864" y="9392"/>
                </a:cubicBezTo>
                <a:cubicBezTo>
                  <a:pt x="8864" y="9520"/>
                  <a:pt x="8976" y="9632"/>
                  <a:pt x="9104" y="9632"/>
                </a:cubicBezTo>
                <a:cubicBezTo>
                  <a:pt x="9200" y="9632"/>
                  <a:pt x="9264" y="9584"/>
                  <a:pt x="9312" y="9520"/>
                </a:cubicBezTo>
                <a:cubicBezTo>
                  <a:pt x="9584" y="9056"/>
                  <a:pt x="9584" y="8656"/>
                  <a:pt x="9552" y="8400"/>
                </a:cubicBezTo>
                <a:close/>
                <a:moveTo>
                  <a:pt x="10496" y="9072"/>
                </a:moveTo>
                <a:cubicBezTo>
                  <a:pt x="10576" y="8752"/>
                  <a:pt x="10560" y="8432"/>
                  <a:pt x="10480" y="8128"/>
                </a:cubicBezTo>
                <a:cubicBezTo>
                  <a:pt x="10336" y="7600"/>
                  <a:pt x="10000" y="7296"/>
                  <a:pt x="9984" y="7280"/>
                </a:cubicBezTo>
                <a:cubicBezTo>
                  <a:pt x="9936" y="7248"/>
                  <a:pt x="9888" y="7216"/>
                  <a:pt x="9824" y="7216"/>
                </a:cubicBezTo>
                <a:cubicBezTo>
                  <a:pt x="9696" y="7216"/>
                  <a:pt x="9584" y="7328"/>
                  <a:pt x="9584" y="7456"/>
                </a:cubicBezTo>
                <a:cubicBezTo>
                  <a:pt x="9584" y="7520"/>
                  <a:pt x="9616" y="7584"/>
                  <a:pt x="9664" y="7632"/>
                </a:cubicBezTo>
                <a:cubicBezTo>
                  <a:pt x="9664" y="7632"/>
                  <a:pt x="9920" y="7872"/>
                  <a:pt x="10032" y="8272"/>
                </a:cubicBezTo>
                <a:cubicBezTo>
                  <a:pt x="10176" y="8800"/>
                  <a:pt x="10000" y="9344"/>
                  <a:pt x="9520" y="9888"/>
                </a:cubicBezTo>
                <a:cubicBezTo>
                  <a:pt x="9488" y="9936"/>
                  <a:pt x="9456" y="9984"/>
                  <a:pt x="9456" y="10048"/>
                </a:cubicBezTo>
                <a:cubicBezTo>
                  <a:pt x="9456" y="10176"/>
                  <a:pt x="9568" y="10288"/>
                  <a:pt x="9696" y="10288"/>
                </a:cubicBezTo>
                <a:cubicBezTo>
                  <a:pt x="9776" y="10288"/>
                  <a:pt x="9840" y="10256"/>
                  <a:pt x="9888" y="10208"/>
                </a:cubicBezTo>
                <a:cubicBezTo>
                  <a:pt x="10192" y="9840"/>
                  <a:pt x="10400" y="9456"/>
                  <a:pt x="10496" y="9072"/>
                </a:cubicBezTo>
                <a:close/>
                <a:moveTo>
                  <a:pt x="11504" y="8336"/>
                </a:moveTo>
                <a:cubicBezTo>
                  <a:pt x="11424" y="7776"/>
                  <a:pt x="11184" y="7216"/>
                  <a:pt x="10768" y="6688"/>
                </a:cubicBezTo>
                <a:cubicBezTo>
                  <a:pt x="10720" y="6624"/>
                  <a:pt x="10656" y="6592"/>
                  <a:pt x="10576" y="6592"/>
                </a:cubicBezTo>
                <a:cubicBezTo>
                  <a:pt x="10448" y="6592"/>
                  <a:pt x="10336" y="6704"/>
                  <a:pt x="10336" y="6832"/>
                </a:cubicBezTo>
                <a:cubicBezTo>
                  <a:pt x="10336" y="6880"/>
                  <a:pt x="10352" y="6944"/>
                  <a:pt x="10384" y="6976"/>
                </a:cubicBezTo>
                <a:cubicBezTo>
                  <a:pt x="11040" y="7808"/>
                  <a:pt x="11200" y="8656"/>
                  <a:pt x="10896" y="9520"/>
                </a:cubicBezTo>
                <a:cubicBezTo>
                  <a:pt x="10656" y="10176"/>
                  <a:pt x="10208" y="10592"/>
                  <a:pt x="10208" y="10608"/>
                </a:cubicBezTo>
                <a:cubicBezTo>
                  <a:pt x="10160" y="10656"/>
                  <a:pt x="10128" y="10720"/>
                  <a:pt x="10128" y="10784"/>
                </a:cubicBezTo>
                <a:cubicBezTo>
                  <a:pt x="10128" y="10912"/>
                  <a:pt x="10240" y="11024"/>
                  <a:pt x="10368" y="11024"/>
                </a:cubicBezTo>
                <a:cubicBezTo>
                  <a:pt x="10432" y="11024"/>
                  <a:pt x="10496" y="10992"/>
                  <a:pt x="10528" y="10960"/>
                </a:cubicBezTo>
                <a:cubicBezTo>
                  <a:pt x="10544" y="10944"/>
                  <a:pt x="11056" y="10464"/>
                  <a:pt x="11344" y="9712"/>
                </a:cubicBezTo>
                <a:cubicBezTo>
                  <a:pt x="11504" y="9264"/>
                  <a:pt x="11552" y="8800"/>
                  <a:pt x="11504" y="8336"/>
                </a:cubicBezTo>
                <a:close/>
              </a:path>
            </a:pathLst>
          </a:custGeom>
          <a:solidFill>
            <a:schemeClr val="bg1"/>
          </a:solidFill>
          <a:ln>
            <a:noFill/>
          </a:ln>
        </p:spPr>
      </p:sp>
      <p:sp>
        <p:nvSpPr>
          <p:cNvPr id="20" name="iconfont-10043-4933350"/>
          <p:cNvSpPr>
            <a:spLocks noChangeAspect="1"/>
          </p:cNvSpPr>
          <p:nvPr/>
        </p:nvSpPr>
        <p:spPr bwMode="auto">
          <a:xfrm>
            <a:off x="4110087" y="4474469"/>
            <a:ext cx="609685" cy="609685"/>
          </a:xfrm>
          <a:custGeom>
            <a:avLst/>
            <a:gdLst>
              <a:gd name="T0" fmla="*/ 5400 w 10800"/>
              <a:gd name="T1" fmla="*/ 10800 h 10800"/>
              <a:gd name="T2" fmla="*/ 0 w 10800"/>
              <a:gd name="T3" fmla="*/ 5400 h 10800"/>
              <a:gd name="T4" fmla="*/ 5400 w 10800"/>
              <a:gd name="T5" fmla="*/ 0 h 10800"/>
              <a:gd name="T6" fmla="*/ 10800 w 10800"/>
              <a:gd name="T7" fmla="*/ 5400 h 10800"/>
              <a:gd name="T8" fmla="*/ 5400 w 10800"/>
              <a:gd name="T9" fmla="*/ 10800 h 10800"/>
              <a:gd name="T10" fmla="*/ 5400 w 10800"/>
              <a:gd name="T11" fmla="*/ 800 h 10800"/>
              <a:gd name="T12" fmla="*/ 800 w 10800"/>
              <a:gd name="T13" fmla="*/ 5400 h 10800"/>
              <a:gd name="T14" fmla="*/ 5400 w 10800"/>
              <a:gd name="T15" fmla="*/ 10000 h 10800"/>
              <a:gd name="T16" fmla="*/ 10000 w 10800"/>
              <a:gd name="T17" fmla="*/ 5400 h 10800"/>
              <a:gd name="T18" fmla="*/ 5400 w 10800"/>
              <a:gd name="T19" fmla="*/ 800 h 10800"/>
              <a:gd name="T20" fmla="*/ 7400 w 10800"/>
              <a:gd name="T21" fmla="*/ 5880 h 10800"/>
              <a:gd name="T22" fmla="*/ 5800 w 10800"/>
              <a:gd name="T23" fmla="*/ 5880 h 10800"/>
              <a:gd name="T24" fmla="*/ 5800 w 10800"/>
              <a:gd name="T25" fmla="*/ 5080 h 10800"/>
              <a:gd name="T26" fmla="*/ 7400 w 10800"/>
              <a:gd name="T27" fmla="*/ 5080 h 10800"/>
              <a:gd name="T28" fmla="*/ 7800 w 10800"/>
              <a:gd name="T29" fmla="*/ 4680 h 10800"/>
              <a:gd name="T30" fmla="*/ 7400 w 10800"/>
              <a:gd name="T31" fmla="*/ 4280 h 10800"/>
              <a:gd name="T32" fmla="*/ 6280 w 10800"/>
              <a:gd name="T33" fmla="*/ 4280 h 10800"/>
              <a:gd name="T34" fmla="*/ 7380 w 10800"/>
              <a:gd name="T35" fmla="*/ 3180 h 10800"/>
              <a:gd name="T36" fmla="*/ 7380 w 10800"/>
              <a:gd name="T37" fmla="*/ 2620 h 10800"/>
              <a:gd name="T38" fmla="*/ 6820 w 10800"/>
              <a:gd name="T39" fmla="*/ 2620 h 10800"/>
              <a:gd name="T40" fmla="*/ 5400 w 10800"/>
              <a:gd name="T41" fmla="*/ 4040 h 10800"/>
              <a:gd name="T42" fmla="*/ 3980 w 10800"/>
              <a:gd name="T43" fmla="*/ 2620 h 10800"/>
              <a:gd name="T44" fmla="*/ 3420 w 10800"/>
              <a:gd name="T45" fmla="*/ 2620 h 10800"/>
              <a:gd name="T46" fmla="*/ 3420 w 10800"/>
              <a:gd name="T47" fmla="*/ 3180 h 10800"/>
              <a:gd name="T48" fmla="*/ 4520 w 10800"/>
              <a:gd name="T49" fmla="*/ 4280 h 10800"/>
              <a:gd name="T50" fmla="*/ 3400 w 10800"/>
              <a:gd name="T51" fmla="*/ 4280 h 10800"/>
              <a:gd name="T52" fmla="*/ 3000 w 10800"/>
              <a:gd name="T53" fmla="*/ 4680 h 10800"/>
              <a:gd name="T54" fmla="*/ 3400 w 10800"/>
              <a:gd name="T55" fmla="*/ 5080 h 10800"/>
              <a:gd name="T56" fmla="*/ 5000 w 10800"/>
              <a:gd name="T57" fmla="*/ 5080 h 10800"/>
              <a:gd name="T58" fmla="*/ 5000 w 10800"/>
              <a:gd name="T59" fmla="*/ 5880 h 10800"/>
              <a:gd name="T60" fmla="*/ 3400 w 10800"/>
              <a:gd name="T61" fmla="*/ 5880 h 10800"/>
              <a:gd name="T62" fmla="*/ 3000 w 10800"/>
              <a:gd name="T63" fmla="*/ 6280 h 10800"/>
              <a:gd name="T64" fmla="*/ 3400 w 10800"/>
              <a:gd name="T65" fmla="*/ 6680 h 10800"/>
              <a:gd name="T66" fmla="*/ 5000 w 10800"/>
              <a:gd name="T67" fmla="*/ 6680 h 10800"/>
              <a:gd name="T68" fmla="*/ 5000 w 10800"/>
              <a:gd name="T69" fmla="*/ 8280 h 10800"/>
              <a:gd name="T70" fmla="*/ 5400 w 10800"/>
              <a:gd name="T71" fmla="*/ 8680 h 10800"/>
              <a:gd name="T72" fmla="*/ 5800 w 10800"/>
              <a:gd name="T73" fmla="*/ 8280 h 10800"/>
              <a:gd name="T74" fmla="*/ 5800 w 10800"/>
              <a:gd name="T75" fmla="*/ 6680 h 10800"/>
              <a:gd name="T76" fmla="*/ 7400 w 10800"/>
              <a:gd name="T77" fmla="*/ 6680 h 10800"/>
              <a:gd name="T78" fmla="*/ 7800 w 10800"/>
              <a:gd name="T79" fmla="*/ 6280 h 10800"/>
              <a:gd name="T80" fmla="*/ 7400 w 10800"/>
              <a:gd name="T81" fmla="*/ 5880 h 10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00" h="10800">
                <a:moveTo>
                  <a:pt x="5400" y="10800"/>
                </a:moveTo>
                <a:cubicBezTo>
                  <a:pt x="2420" y="10800"/>
                  <a:pt x="0" y="8380"/>
                  <a:pt x="0" y="5400"/>
                </a:cubicBezTo>
                <a:cubicBezTo>
                  <a:pt x="0" y="2420"/>
                  <a:pt x="2420" y="0"/>
                  <a:pt x="5400" y="0"/>
                </a:cubicBezTo>
                <a:cubicBezTo>
                  <a:pt x="8380" y="0"/>
                  <a:pt x="10800" y="2420"/>
                  <a:pt x="10800" y="5400"/>
                </a:cubicBezTo>
                <a:cubicBezTo>
                  <a:pt x="10800" y="8380"/>
                  <a:pt x="8380" y="10800"/>
                  <a:pt x="5400" y="10800"/>
                </a:cubicBezTo>
                <a:close/>
                <a:moveTo>
                  <a:pt x="5400" y="800"/>
                </a:moveTo>
                <a:cubicBezTo>
                  <a:pt x="2860" y="800"/>
                  <a:pt x="800" y="2860"/>
                  <a:pt x="800" y="5400"/>
                </a:cubicBezTo>
                <a:cubicBezTo>
                  <a:pt x="800" y="7940"/>
                  <a:pt x="2860" y="10000"/>
                  <a:pt x="5400" y="10000"/>
                </a:cubicBezTo>
                <a:cubicBezTo>
                  <a:pt x="7940" y="10000"/>
                  <a:pt x="10000" y="7940"/>
                  <a:pt x="10000" y="5400"/>
                </a:cubicBezTo>
                <a:cubicBezTo>
                  <a:pt x="10000" y="2860"/>
                  <a:pt x="7940" y="800"/>
                  <a:pt x="5400" y="800"/>
                </a:cubicBezTo>
                <a:close/>
                <a:moveTo>
                  <a:pt x="7400" y="5880"/>
                </a:moveTo>
                <a:lnTo>
                  <a:pt x="5800" y="5880"/>
                </a:lnTo>
                <a:lnTo>
                  <a:pt x="5800" y="5080"/>
                </a:lnTo>
                <a:lnTo>
                  <a:pt x="7400" y="5080"/>
                </a:lnTo>
                <a:cubicBezTo>
                  <a:pt x="7620" y="5080"/>
                  <a:pt x="7800" y="4900"/>
                  <a:pt x="7800" y="4680"/>
                </a:cubicBezTo>
                <a:cubicBezTo>
                  <a:pt x="7800" y="4460"/>
                  <a:pt x="7620" y="4280"/>
                  <a:pt x="7400" y="4280"/>
                </a:cubicBezTo>
                <a:lnTo>
                  <a:pt x="6280" y="4280"/>
                </a:lnTo>
                <a:lnTo>
                  <a:pt x="7380" y="3180"/>
                </a:lnTo>
                <a:cubicBezTo>
                  <a:pt x="7540" y="3020"/>
                  <a:pt x="7540" y="2780"/>
                  <a:pt x="7380" y="2620"/>
                </a:cubicBezTo>
                <a:cubicBezTo>
                  <a:pt x="7220" y="2460"/>
                  <a:pt x="6980" y="2460"/>
                  <a:pt x="6820" y="2620"/>
                </a:cubicBezTo>
                <a:lnTo>
                  <a:pt x="5400" y="4040"/>
                </a:lnTo>
                <a:lnTo>
                  <a:pt x="3980" y="2620"/>
                </a:lnTo>
                <a:cubicBezTo>
                  <a:pt x="3820" y="2460"/>
                  <a:pt x="3580" y="2460"/>
                  <a:pt x="3420" y="2620"/>
                </a:cubicBezTo>
                <a:cubicBezTo>
                  <a:pt x="3260" y="2780"/>
                  <a:pt x="3260" y="3020"/>
                  <a:pt x="3420" y="3180"/>
                </a:cubicBezTo>
                <a:lnTo>
                  <a:pt x="4520" y="4280"/>
                </a:lnTo>
                <a:lnTo>
                  <a:pt x="3400" y="4280"/>
                </a:lnTo>
                <a:cubicBezTo>
                  <a:pt x="3180" y="4280"/>
                  <a:pt x="3000" y="4460"/>
                  <a:pt x="3000" y="4680"/>
                </a:cubicBezTo>
                <a:cubicBezTo>
                  <a:pt x="3000" y="4900"/>
                  <a:pt x="3180" y="5080"/>
                  <a:pt x="3400" y="5080"/>
                </a:cubicBezTo>
                <a:lnTo>
                  <a:pt x="5000" y="5080"/>
                </a:lnTo>
                <a:lnTo>
                  <a:pt x="5000" y="5880"/>
                </a:lnTo>
                <a:lnTo>
                  <a:pt x="3400" y="5880"/>
                </a:lnTo>
                <a:cubicBezTo>
                  <a:pt x="3180" y="5880"/>
                  <a:pt x="3000" y="6060"/>
                  <a:pt x="3000" y="6280"/>
                </a:cubicBezTo>
                <a:cubicBezTo>
                  <a:pt x="3000" y="6500"/>
                  <a:pt x="3180" y="6680"/>
                  <a:pt x="3400" y="6680"/>
                </a:cubicBezTo>
                <a:lnTo>
                  <a:pt x="5000" y="6680"/>
                </a:lnTo>
                <a:lnTo>
                  <a:pt x="5000" y="8280"/>
                </a:lnTo>
                <a:cubicBezTo>
                  <a:pt x="5000" y="8500"/>
                  <a:pt x="5180" y="8680"/>
                  <a:pt x="5400" y="8680"/>
                </a:cubicBezTo>
                <a:cubicBezTo>
                  <a:pt x="5620" y="8680"/>
                  <a:pt x="5800" y="8500"/>
                  <a:pt x="5800" y="8280"/>
                </a:cubicBezTo>
                <a:lnTo>
                  <a:pt x="5800" y="6680"/>
                </a:lnTo>
                <a:lnTo>
                  <a:pt x="7400" y="6680"/>
                </a:lnTo>
                <a:cubicBezTo>
                  <a:pt x="7620" y="6680"/>
                  <a:pt x="7800" y="6500"/>
                  <a:pt x="7800" y="6280"/>
                </a:cubicBezTo>
                <a:cubicBezTo>
                  <a:pt x="7800" y="6060"/>
                  <a:pt x="7620" y="5880"/>
                  <a:pt x="7400" y="5880"/>
                </a:cubicBezTo>
                <a:close/>
              </a:path>
            </a:pathLst>
          </a:custGeom>
          <a:solidFill>
            <a:schemeClr val="bg1"/>
          </a:solidFill>
          <a:ln>
            <a:noFill/>
          </a:ln>
        </p:spPr>
      </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占位符 15"/>
          <p:cNvPicPr>
            <a:picLocks noGrp="1" noChangeAspect="1"/>
          </p:cNvPicPr>
          <p:nvPr>
            <p:ph type="pic" sz="quarter" idx="18"/>
          </p:nvPr>
        </p:nvPicPr>
        <p:blipFill>
          <a:blip r:embed="rId1">
            <a:extLst>
              <a:ext uri="{28A0092B-C50C-407E-A947-70E740481C1C}">
                <a14:useLocalDpi xmlns:a14="http://schemas.microsoft.com/office/drawing/2010/main" val="0"/>
              </a:ext>
            </a:extLst>
          </a:blip>
          <a:srcRect l="30681" r="30065"/>
          <a:stretch>
            <a:fillRect/>
          </a:stretch>
        </p:blipFill>
        <p:spPr>
          <a:xfrm>
            <a:off x="8146415" y="0"/>
            <a:ext cx="4045585" cy="6858000"/>
          </a:xfrm>
        </p:spPr>
      </p:pic>
      <p:grpSp>
        <p:nvGrpSpPr>
          <p:cNvPr id="13" name="组合 12"/>
          <p:cNvGrpSpPr/>
          <p:nvPr/>
        </p:nvGrpSpPr>
        <p:grpSpPr>
          <a:xfrm>
            <a:off x="6257925" y="1482725"/>
            <a:ext cx="3763645" cy="3893185"/>
            <a:chOff x="9455" y="2335"/>
            <a:chExt cx="5927" cy="6131"/>
          </a:xfrm>
        </p:grpSpPr>
        <p:sp>
          <p:nvSpPr>
            <p:cNvPr id="3" name="Rectangle 2"/>
            <p:cNvSpPr/>
            <p:nvPr/>
          </p:nvSpPr>
          <p:spPr>
            <a:xfrm>
              <a:off x="9455" y="2335"/>
              <a:ext cx="5927" cy="61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4" name="TextBox 3"/>
            <p:cNvSpPr txBox="1"/>
            <p:nvPr/>
          </p:nvSpPr>
          <p:spPr>
            <a:xfrm>
              <a:off x="9584" y="2493"/>
              <a:ext cx="5669" cy="5815"/>
            </a:xfrm>
            <a:prstGeom prst="rect">
              <a:avLst/>
            </a:prstGeom>
            <a:noFill/>
          </p:spPr>
          <p:txBody>
            <a:bodyPr wrap="square" rtlCol="0">
              <a:spAutoFit/>
            </a:bodyPr>
            <a:lstStyle/>
            <a:p>
              <a:pPr algn="l" fontAlgn="auto" latinLnBrk="1"/>
              <a:r>
                <a:rPr lang="zh-CN" altLang="en-US" dirty="0">
                  <a:solidFill>
                    <a:schemeClr val="bg1"/>
                  </a:solidFill>
                  <a:uFillTx/>
                  <a:latin typeface="汉仪粗圆简" panose="02010600000101010101" charset="-122"/>
                  <a:ea typeface="汉仪粗圆简" panose="02010600000101010101" charset="-122"/>
                  <a:cs typeface="+mn-ea"/>
                  <a:sym typeface="+mn-lt"/>
                </a:rPr>
                <a:t>Unity支持Mono和IL2CPP两种编译模式。使用Mono编译的游戏，它将C#脚本代码编译为IL中间语言打包到游戏客户端，在游戏执行时候编译为汇编代码。这类中间语言存在容易被反编译为C#源代码的风险。后来基于安全性和执行效率方面的考虑，Unity支持了</a:t>
              </a:r>
              <a:endParaRPr lang="zh-CN" altLang="en-US" dirty="0">
                <a:solidFill>
                  <a:schemeClr val="bg1"/>
                </a:solidFill>
                <a:uFillTx/>
                <a:latin typeface="汉仪粗圆简" panose="02010600000101010101" charset="-122"/>
                <a:ea typeface="汉仪粗圆简" panose="02010600000101010101" charset="-122"/>
                <a:cs typeface="+mn-ea"/>
                <a:sym typeface="+mn-lt"/>
              </a:endParaRPr>
            </a:p>
            <a:p>
              <a:pPr algn="l" fontAlgn="auto" latinLnBrk="1"/>
              <a:r>
                <a:rPr lang="zh-CN" altLang="en-US" dirty="0">
                  <a:solidFill>
                    <a:schemeClr val="bg1"/>
                  </a:solidFill>
                  <a:uFillTx/>
                  <a:latin typeface="汉仪粗圆简" panose="02010600000101010101" charset="-122"/>
                  <a:ea typeface="汉仪粗圆简" panose="02010600000101010101" charset="-122"/>
                  <a:cs typeface="+mn-ea"/>
                  <a:sym typeface="+mn-lt"/>
                </a:rPr>
                <a:t>IL2CPP编译，大大提升了游戏安全性，但还是存在被攻击的风险。C#反编译相关的工具有很多，比如传统的ILDASM、PEBroswerDbg</a:t>
              </a:r>
              <a:endParaRPr lang="zh-CN" altLang="en-US" dirty="0">
                <a:solidFill>
                  <a:schemeClr val="bg1"/>
                </a:solidFill>
                <a:uFillTx/>
                <a:latin typeface="汉仪粗圆简" panose="02010600000101010101" charset="-122"/>
                <a:ea typeface="汉仪粗圆简" panose="02010600000101010101" charset="-122"/>
                <a:cs typeface="+mn-ea"/>
                <a:sym typeface="+mn-lt"/>
              </a:endParaRPr>
            </a:p>
            <a:p>
              <a:pPr algn="l" fontAlgn="auto" latinLnBrk="1"/>
              <a:r>
                <a:rPr lang="zh-CN" altLang="en-US" dirty="0">
                  <a:solidFill>
                    <a:schemeClr val="bg1"/>
                  </a:solidFill>
                  <a:uFillTx/>
                  <a:latin typeface="汉仪粗圆简" panose="02010600000101010101" charset="-122"/>
                  <a:ea typeface="汉仪粗圆简" panose="02010600000101010101" charset="-122"/>
                  <a:cs typeface="+mn-ea"/>
                  <a:sym typeface="+mn-lt"/>
                </a:rPr>
                <a:t>、GrayWolf、XenoCode等。</a:t>
              </a:r>
              <a:endParaRPr lang="zh-CN" altLang="en-US" dirty="0">
                <a:solidFill>
                  <a:schemeClr val="bg1"/>
                </a:solidFill>
                <a:uFillTx/>
                <a:latin typeface="汉仪粗圆简" panose="02010600000101010101" charset="-122"/>
                <a:ea typeface="汉仪粗圆简" panose="02010600000101010101" charset="-122"/>
                <a:cs typeface="+mn-ea"/>
                <a:sym typeface="+mn-lt"/>
              </a:endParaRPr>
            </a:p>
          </p:txBody>
        </p:sp>
      </p:grpSp>
      <p:grpSp>
        <p:nvGrpSpPr>
          <p:cNvPr id="2" name="组合 1"/>
          <p:cNvGrpSpPr/>
          <p:nvPr/>
        </p:nvGrpSpPr>
        <p:grpSpPr>
          <a:xfrm>
            <a:off x="686435" y="1482636"/>
            <a:ext cx="5454015" cy="3718014"/>
            <a:chOff x="1138" y="5123"/>
            <a:chExt cx="8589" cy="5855"/>
          </a:xfrm>
        </p:grpSpPr>
        <p:sp>
          <p:nvSpPr>
            <p:cNvPr id="6" name="TextBox 5"/>
            <p:cNvSpPr txBox="1"/>
            <p:nvPr/>
          </p:nvSpPr>
          <p:spPr>
            <a:xfrm>
              <a:off x="1138" y="5123"/>
              <a:ext cx="2078" cy="1454"/>
            </a:xfrm>
            <a:prstGeom prst="rect">
              <a:avLst/>
            </a:prstGeom>
            <a:noFill/>
          </p:spPr>
          <p:txBody>
            <a:bodyPr wrap="square" rtlCol="0">
              <a:spAutoFit/>
            </a:bodyPr>
            <a:lstStyle/>
            <a:p>
              <a:r>
                <a:rPr lang="en-US" sz="5400">
                  <a:solidFill>
                    <a:schemeClr val="accent1"/>
                  </a:solidFill>
                  <a:cs typeface="+mn-ea"/>
                  <a:sym typeface="+mn-lt"/>
                </a:rPr>
                <a:t>01.</a:t>
              </a:r>
              <a:endParaRPr lang="id-ID" sz="6600" b="1">
                <a:solidFill>
                  <a:schemeClr val="accent1"/>
                </a:solidFill>
                <a:cs typeface="+mn-ea"/>
                <a:sym typeface="+mn-lt"/>
              </a:endParaRPr>
            </a:p>
          </p:txBody>
        </p:sp>
        <p:sp>
          <p:nvSpPr>
            <p:cNvPr id="7" name="TextBox 6"/>
            <p:cNvSpPr txBox="1"/>
            <p:nvPr/>
          </p:nvSpPr>
          <p:spPr>
            <a:xfrm>
              <a:off x="1138" y="7345"/>
              <a:ext cx="4148" cy="3633"/>
            </a:xfrm>
            <a:prstGeom prst="rect">
              <a:avLst/>
            </a:prstGeom>
            <a:noFill/>
          </p:spPr>
          <p:txBody>
            <a:bodyPr wrap="square" rtlCol="0">
              <a:spAutoFit/>
            </a:bodyPr>
            <a:lstStyle/>
            <a:p>
              <a:pPr>
                <a:lnSpc>
                  <a:spcPct val="150000"/>
                </a:lnSpc>
              </a:pPr>
              <a:r>
                <a:rPr sz="1200">
                  <a:solidFill>
                    <a:schemeClr val="tx1">
                      <a:lumMod val="75000"/>
                      <a:lumOff val="25000"/>
                    </a:schemeClr>
                  </a:solidFill>
                  <a:latin typeface="站酷快乐体" panose="02010600030101010101" charset="-128"/>
                  <a:ea typeface="站酷快乐体" panose="02010600030101010101" charset="-128"/>
                  <a:cs typeface="站酷快乐体" panose="02010600030101010101" charset="-128"/>
                  <a:sym typeface="+mn-lt"/>
                </a:rPr>
                <a:t>我们选择使用 IL2CPP 模式编译，游戏的脚本代码没有了，脚本代码被编译成了 Native 代码发布。前面提到的工具都失效了，安全性得到了一定的提升。但是 IL2CPP 编译后会生成一个 global-metadata.dat 文件，这个文件里面包含了大量的符号信息。</a:t>
              </a:r>
              <a:endParaRPr sz="1200">
                <a:solidFill>
                  <a:schemeClr val="tx1">
                    <a:lumMod val="75000"/>
                    <a:lumOff val="25000"/>
                  </a:schemeClr>
                </a:solidFill>
                <a:latin typeface="站酷快乐体" panose="02010600030101010101" charset="-128"/>
                <a:ea typeface="站酷快乐体" panose="02010600030101010101" charset="-128"/>
                <a:cs typeface="站酷快乐体" panose="02010600030101010101" charset="-128"/>
                <a:sym typeface="+mn-lt"/>
              </a:endParaRPr>
            </a:p>
          </p:txBody>
        </p:sp>
        <p:sp>
          <p:nvSpPr>
            <p:cNvPr id="8" name="TextBox 7"/>
            <p:cNvSpPr txBox="1"/>
            <p:nvPr/>
          </p:nvSpPr>
          <p:spPr>
            <a:xfrm>
              <a:off x="1138" y="6767"/>
              <a:ext cx="2838" cy="580"/>
            </a:xfrm>
            <a:prstGeom prst="rect">
              <a:avLst/>
            </a:prstGeom>
            <a:noFill/>
          </p:spPr>
          <p:txBody>
            <a:bodyPr wrap="square" rtlCol="0">
              <a:spAutoFit/>
            </a:bodyPr>
            <a:lstStyle/>
            <a:p>
              <a:r>
                <a:rPr lang="zh-CN" altLang="en-US" dirty="0">
                  <a:solidFill>
                    <a:schemeClr val="tx1">
                      <a:lumMod val="75000"/>
                      <a:lumOff val="25000"/>
                    </a:schemeClr>
                  </a:solidFill>
                  <a:cs typeface="+mn-ea"/>
                  <a:sym typeface="+mn-lt"/>
                </a:rPr>
                <a:t>编译模式</a:t>
              </a:r>
              <a:endParaRPr lang="zh-CN" altLang="en-US" dirty="0">
                <a:solidFill>
                  <a:schemeClr val="tx1">
                    <a:lumMod val="75000"/>
                    <a:lumOff val="25000"/>
                  </a:schemeClr>
                </a:solidFill>
                <a:cs typeface="+mn-ea"/>
                <a:sym typeface="+mn-lt"/>
              </a:endParaRPr>
            </a:p>
          </p:txBody>
        </p:sp>
        <p:sp>
          <p:nvSpPr>
            <p:cNvPr id="9" name="TextBox 8"/>
            <p:cNvSpPr txBox="1"/>
            <p:nvPr/>
          </p:nvSpPr>
          <p:spPr>
            <a:xfrm>
              <a:off x="5579" y="5123"/>
              <a:ext cx="2078" cy="1454"/>
            </a:xfrm>
            <a:prstGeom prst="rect">
              <a:avLst/>
            </a:prstGeom>
            <a:noFill/>
          </p:spPr>
          <p:txBody>
            <a:bodyPr wrap="square" rtlCol="0">
              <a:spAutoFit/>
            </a:bodyPr>
            <a:lstStyle/>
            <a:p>
              <a:r>
                <a:rPr lang="en-US" sz="5400">
                  <a:solidFill>
                    <a:schemeClr val="accent1"/>
                  </a:solidFill>
                  <a:cs typeface="+mn-ea"/>
                  <a:sym typeface="+mn-lt"/>
                </a:rPr>
                <a:t>02.</a:t>
              </a:r>
              <a:endParaRPr lang="id-ID" sz="6600" b="1">
                <a:solidFill>
                  <a:schemeClr val="accent1"/>
                </a:solidFill>
                <a:cs typeface="+mn-ea"/>
                <a:sym typeface="+mn-lt"/>
              </a:endParaRPr>
            </a:p>
          </p:txBody>
        </p:sp>
        <p:sp>
          <p:nvSpPr>
            <p:cNvPr id="10" name="TextBox 9"/>
            <p:cNvSpPr txBox="1"/>
            <p:nvPr/>
          </p:nvSpPr>
          <p:spPr>
            <a:xfrm>
              <a:off x="5579" y="7345"/>
              <a:ext cx="4148" cy="3633"/>
            </a:xfrm>
            <a:prstGeom prst="rect">
              <a:avLst/>
            </a:prstGeom>
            <a:noFill/>
          </p:spPr>
          <p:txBody>
            <a:bodyPr wrap="square" rtlCol="0">
              <a:spAutoFit/>
            </a:bodyPr>
            <a:lstStyle/>
            <a:p>
              <a:pPr>
                <a:lnSpc>
                  <a:spcPct val="150000"/>
                </a:lnSpc>
              </a:pPr>
              <a:r>
                <a:rPr sz="1200">
                  <a:solidFill>
                    <a:schemeClr val="tx1">
                      <a:lumMod val="75000"/>
                      <a:lumOff val="25000"/>
                    </a:schemeClr>
                  </a:solidFill>
                  <a:latin typeface="站酷快乐体" panose="02010600030101010101" charset="-128"/>
                  <a:ea typeface="站酷快乐体" panose="02010600030101010101" charset="-128"/>
                  <a:cs typeface="站酷快乐体" panose="02010600030101010101" charset="-128"/>
                  <a:sym typeface="+mn-lt"/>
                </a:rPr>
                <a:t>我们采用UPS来进行安全性保证。方案主要做了两个方面的保护：Mono 保护，IL2CPP 保护。Mono 保护的对象是游戏的主逻辑 dll：Assembly-CSharp.dll 和 Assembly-CSharp-firstpass.dll。IL2CPP 保护的对象是 metadata 文件：global-metadata.dat</a:t>
              </a:r>
              <a:endParaRPr sz="1200">
                <a:solidFill>
                  <a:schemeClr val="tx1">
                    <a:lumMod val="75000"/>
                    <a:lumOff val="25000"/>
                  </a:schemeClr>
                </a:solidFill>
                <a:latin typeface="站酷快乐体" panose="02010600030101010101" charset="-128"/>
                <a:ea typeface="站酷快乐体" panose="02010600030101010101" charset="-128"/>
                <a:cs typeface="站酷快乐体" panose="02010600030101010101" charset="-128"/>
                <a:sym typeface="+mn-lt"/>
              </a:endParaRPr>
            </a:p>
          </p:txBody>
        </p:sp>
        <p:sp>
          <p:nvSpPr>
            <p:cNvPr id="11" name="TextBox 10"/>
            <p:cNvSpPr txBox="1"/>
            <p:nvPr/>
          </p:nvSpPr>
          <p:spPr>
            <a:xfrm>
              <a:off x="5579" y="6767"/>
              <a:ext cx="2838" cy="580"/>
            </a:xfrm>
            <a:prstGeom prst="rect">
              <a:avLst/>
            </a:prstGeom>
            <a:noFill/>
          </p:spPr>
          <p:txBody>
            <a:bodyPr wrap="square" rtlCol="0">
              <a:spAutoFit/>
            </a:bodyPr>
            <a:lstStyle/>
            <a:p>
              <a:r>
                <a:rPr lang="zh-CN" altLang="en-US" dirty="0">
                  <a:solidFill>
                    <a:schemeClr val="tx1">
                      <a:lumMod val="75000"/>
                      <a:lumOff val="25000"/>
                    </a:schemeClr>
                  </a:solidFill>
                  <a:cs typeface="+mn-ea"/>
                  <a:sym typeface="+mn-lt"/>
                </a:rPr>
                <a:t>安全性保证</a:t>
              </a:r>
              <a:endParaRPr lang="zh-CN" altLang="en-US" dirty="0">
                <a:solidFill>
                  <a:schemeClr val="tx1">
                    <a:lumMod val="75000"/>
                    <a:lumOff val="25000"/>
                  </a:schemeClr>
                </a:solidFill>
                <a:cs typeface="+mn-ea"/>
                <a:sym typeface="+mn-lt"/>
              </a:endParaRPr>
            </a:p>
          </p:txBody>
        </p:sp>
      </p:grpSp>
      <p:sp>
        <p:nvSpPr>
          <p:cNvPr id="29" name="矩形 28"/>
          <p:cNvSpPr/>
          <p:nvPr/>
        </p:nvSpPr>
        <p:spPr>
          <a:xfrm>
            <a:off x="1217930" y="181610"/>
            <a:ext cx="379222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spcBef>
                <a:spcPct val="0"/>
              </a:spcBef>
            </a:pPr>
            <a:endPar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l">
              <a:spcBef>
                <a:spcPct val="0"/>
              </a:spcBef>
            </a:pP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系统安全性</a:t>
            </a: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ct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p:txBody>
      </p:sp>
    </p:spTree>
    <p:custDataLst>
      <p:tags r:id="rId2"/>
    </p:custDataLst>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3100070" y="1845945"/>
            <a:ext cx="3872230" cy="681355"/>
          </a:xfrm>
          <a:prstGeom prst="rect">
            <a:avLst/>
          </a:prstGeom>
        </p:spPr>
        <p:txBody>
          <a:bodyPr wrap="square">
            <a:spAutoFit/>
          </a:bodyPr>
          <a:lstStyle/>
          <a:p>
            <a:pPr>
              <a:lnSpc>
                <a:spcPct val="120000"/>
              </a:lnSpc>
            </a:pPr>
            <a:r>
              <a:rPr lang="en-US" sz="1600" b="1" dirty="0">
                <a:solidFill>
                  <a:schemeClr val="tx1">
                    <a:lumMod val="75000"/>
                    <a:lumOff val="25000"/>
                  </a:schemeClr>
                </a:solidFill>
                <a:cs typeface="+mn-ea"/>
                <a:sym typeface="+mn-lt"/>
              </a:rPr>
              <a:t>采用传统方式更新，热更仅仅用于紧急更新 / 希望战斗等性能敏感部分也能更新</a:t>
            </a:r>
            <a:endParaRPr lang="en-US" sz="1600" b="1" dirty="0">
              <a:solidFill>
                <a:schemeClr val="tx1">
                  <a:lumMod val="75000"/>
                  <a:lumOff val="25000"/>
                </a:schemeClr>
              </a:solidFill>
              <a:cs typeface="+mn-ea"/>
              <a:sym typeface="+mn-lt"/>
            </a:endParaRPr>
          </a:p>
        </p:txBody>
      </p:sp>
      <p:sp>
        <p:nvSpPr>
          <p:cNvPr id="13" name="Rectangle 12"/>
          <p:cNvSpPr/>
          <p:nvPr/>
        </p:nvSpPr>
        <p:spPr>
          <a:xfrm>
            <a:off x="3100070" y="3300095"/>
            <a:ext cx="3872230" cy="681355"/>
          </a:xfrm>
          <a:prstGeom prst="rect">
            <a:avLst/>
          </a:prstGeom>
        </p:spPr>
        <p:txBody>
          <a:bodyPr wrap="square">
            <a:spAutoFit/>
          </a:bodyPr>
          <a:lstStyle/>
          <a:p>
            <a:pPr>
              <a:lnSpc>
                <a:spcPct val="120000"/>
              </a:lnSpc>
            </a:pPr>
            <a:r>
              <a:rPr sz="1600" b="1" dirty="0">
                <a:solidFill>
                  <a:schemeClr val="tx1">
                    <a:lumMod val="75000"/>
                    <a:lumOff val="25000"/>
                  </a:schemeClr>
                </a:solidFill>
                <a:cs typeface="+mn-ea"/>
                <a:sym typeface="+mn-lt"/>
              </a:rPr>
              <a:t>使用xLua（性能在Lua系列中一般，但额外支持HotFix，可以更多使用C#代码）</a:t>
            </a:r>
            <a:endParaRPr sz="1600" b="1" dirty="0">
              <a:solidFill>
                <a:schemeClr val="tx1">
                  <a:lumMod val="75000"/>
                  <a:lumOff val="25000"/>
                </a:schemeClr>
              </a:solidFill>
              <a:cs typeface="+mn-ea"/>
              <a:sym typeface="+mn-lt"/>
            </a:endParaRPr>
          </a:p>
        </p:txBody>
      </p:sp>
      <p:sp>
        <p:nvSpPr>
          <p:cNvPr id="17" name="Rectangle 16"/>
          <p:cNvSpPr/>
          <p:nvPr/>
        </p:nvSpPr>
        <p:spPr>
          <a:xfrm>
            <a:off x="3094990" y="4751070"/>
            <a:ext cx="3877945" cy="1271270"/>
          </a:xfrm>
          <a:prstGeom prst="rect">
            <a:avLst/>
          </a:prstGeom>
        </p:spPr>
        <p:txBody>
          <a:bodyPr wrap="square">
            <a:spAutoFit/>
          </a:bodyPr>
          <a:lstStyle/>
          <a:p>
            <a:pPr>
              <a:lnSpc>
                <a:spcPct val="120000"/>
              </a:lnSpc>
            </a:pPr>
            <a:r>
              <a:rPr sz="1600" b="1" dirty="0">
                <a:solidFill>
                  <a:schemeClr val="tx1">
                    <a:lumMod val="75000"/>
                    <a:lumOff val="25000"/>
                  </a:schemeClr>
                </a:solidFill>
                <a:cs typeface="+mn-ea"/>
                <a:sym typeface="+mn-lt"/>
              </a:rPr>
              <a:t>使用ILRuntime解释器，用ILRuntime是比较正统的解决方案，这个语言在提供代码热更的方案的时候，会主动换成另外一个脚本语言。</a:t>
            </a:r>
            <a:endParaRPr sz="1600" b="1" dirty="0">
              <a:solidFill>
                <a:schemeClr val="tx1">
                  <a:lumMod val="75000"/>
                  <a:lumOff val="25000"/>
                </a:schemeClr>
              </a:solidFill>
              <a:cs typeface="+mn-ea"/>
              <a:sym typeface="+mn-lt"/>
            </a:endParaRPr>
          </a:p>
        </p:txBody>
      </p:sp>
      <p:grpSp>
        <p:nvGrpSpPr>
          <p:cNvPr id="6" name="Group 5"/>
          <p:cNvGrpSpPr/>
          <p:nvPr/>
        </p:nvGrpSpPr>
        <p:grpSpPr>
          <a:xfrm>
            <a:off x="1688698" y="4758271"/>
            <a:ext cx="1235317" cy="1235317"/>
            <a:chOff x="829299" y="4671276"/>
            <a:chExt cx="1235317" cy="1235317"/>
          </a:xfrm>
        </p:grpSpPr>
        <p:sp>
          <p:nvSpPr>
            <p:cNvPr id="14" name="Partial Circle 13"/>
            <p:cNvSpPr/>
            <p:nvPr/>
          </p:nvSpPr>
          <p:spPr>
            <a:xfrm>
              <a:off x="829299" y="4671276"/>
              <a:ext cx="1235317" cy="1235317"/>
            </a:xfrm>
            <a:prstGeom prst="pi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15" name="Oval 14"/>
            <p:cNvSpPr/>
            <p:nvPr/>
          </p:nvSpPr>
          <p:spPr>
            <a:xfrm>
              <a:off x="982831" y="4824808"/>
              <a:ext cx="928254" cy="92825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8" name="AutoShape 4"/>
            <p:cNvSpPr/>
            <p:nvPr/>
          </p:nvSpPr>
          <p:spPr bwMode="auto">
            <a:xfrm>
              <a:off x="1270702" y="5105578"/>
              <a:ext cx="365421" cy="36671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7428" y="17466"/>
                  </a:moveTo>
                  <a:cubicBezTo>
                    <a:pt x="16669" y="16923"/>
                    <a:pt x="15846" y="16465"/>
                    <a:pt x="14963" y="16121"/>
                  </a:cubicBezTo>
                  <a:cubicBezTo>
                    <a:pt x="15595" y="14609"/>
                    <a:pt x="15967" y="12928"/>
                    <a:pt x="16010" y="11148"/>
                  </a:cubicBezTo>
                  <a:lnTo>
                    <a:pt x="20188" y="11148"/>
                  </a:lnTo>
                  <a:cubicBezTo>
                    <a:pt x="20097" y="13612"/>
                    <a:pt x="19065" y="15838"/>
                    <a:pt x="17428" y="17466"/>
                  </a:cubicBezTo>
                  <a:moveTo>
                    <a:pt x="1411" y="11148"/>
                  </a:moveTo>
                  <a:lnTo>
                    <a:pt x="5589" y="11148"/>
                  </a:lnTo>
                  <a:cubicBezTo>
                    <a:pt x="5632" y="12928"/>
                    <a:pt x="6004" y="14609"/>
                    <a:pt x="6636" y="16121"/>
                  </a:cubicBezTo>
                  <a:cubicBezTo>
                    <a:pt x="5753" y="16465"/>
                    <a:pt x="4931" y="16923"/>
                    <a:pt x="4171" y="17466"/>
                  </a:cubicBezTo>
                  <a:cubicBezTo>
                    <a:pt x="2534" y="15838"/>
                    <a:pt x="1502" y="13612"/>
                    <a:pt x="1411" y="11148"/>
                  </a:cubicBezTo>
                  <a:moveTo>
                    <a:pt x="3785" y="4553"/>
                  </a:moveTo>
                  <a:cubicBezTo>
                    <a:pt x="4579" y="5170"/>
                    <a:pt x="5448" y="5691"/>
                    <a:pt x="6388" y="6084"/>
                  </a:cubicBezTo>
                  <a:cubicBezTo>
                    <a:pt x="5901" y="7433"/>
                    <a:pt x="5627" y="8908"/>
                    <a:pt x="5589" y="10451"/>
                  </a:cubicBezTo>
                  <a:lnTo>
                    <a:pt x="1411" y="10451"/>
                  </a:lnTo>
                  <a:cubicBezTo>
                    <a:pt x="1494" y="8190"/>
                    <a:pt x="2376" y="6135"/>
                    <a:pt x="3785" y="4553"/>
                  </a:cubicBezTo>
                  <a:moveTo>
                    <a:pt x="11148" y="10451"/>
                  </a:moveTo>
                  <a:lnTo>
                    <a:pt x="11148" y="6950"/>
                  </a:lnTo>
                  <a:cubicBezTo>
                    <a:pt x="12339" y="6913"/>
                    <a:pt x="13484" y="6696"/>
                    <a:pt x="14558" y="6324"/>
                  </a:cubicBezTo>
                  <a:cubicBezTo>
                    <a:pt x="15018" y="7598"/>
                    <a:pt x="15276" y="8992"/>
                    <a:pt x="15314" y="10451"/>
                  </a:cubicBezTo>
                  <a:cubicBezTo>
                    <a:pt x="15314" y="10451"/>
                    <a:pt x="11148" y="10451"/>
                    <a:pt x="11148" y="10451"/>
                  </a:cubicBezTo>
                  <a:close/>
                  <a:moveTo>
                    <a:pt x="14311" y="15882"/>
                  </a:moveTo>
                  <a:cubicBezTo>
                    <a:pt x="13309" y="15559"/>
                    <a:pt x="12247" y="15380"/>
                    <a:pt x="11148" y="15346"/>
                  </a:cubicBezTo>
                  <a:lnTo>
                    <a:pt x="11148" y="11148"/>
                  </a:lnTo>
                  <a:lnTo>
                    <a:pt x="15314" y="11148"/>
                  </a:lnTo>
                  <a:cubicBezTo>
                    <a:pt x="15270" y="12844"/>
                    <a:pt x="14914" y="14445"/>
                    <a:pt x="14311" y="15882"/>
                  </a:cubicBezTo>
                  <a:moveTo>
                    <a:pt x="14683" y="16757"/>
                  </a:moveTo>
                  <a:cubicBezTo>
                    <a:pt x="15476" y="17063"/>
                    <a:pt x="16218" y="17466"/>
                    <a:pt x="16904" y="17941"/>
                  </a:cubicBezTo>
                  <a:cubicBezTo>
                    <a:pt x="15632" y="19031"/>
                    <a:pt x="14067" y="19781"/>
                    <a:pt x="12344" y="20068"/>
                  </a:cubicBezTo>
                  <a:cubicBezTo>
                    <a:pt x="13280" y="19136"/>
                    <a:pt x="14076" y="18017"/>
                    <a:pt x="14683" y="16757"/>
                  </a:cubicBezTo>
                  <a:moveTo>
                    <a:pt x="11148" y="20188"/>
                  </a:moveTo>
                  <a:lnTo>
                    <a:pt x="11148" y="16043"/>
                  </a:lnTo>
                  <a:cubicBezTo>
                    <a:pt x="12146" y="16075"/>
                    <a:pt x="13113" y="16231"/>
                    <a:pt x="14025" y="16516"/>
                  </a:cubicBezTo>
                  <a:cubicBezTo>
                    <a:pt x="13314" y="17970"/>
                    <a:pt x="12343" y="19223"/>
                    <a:pt x="11185" y="20186"/>
                  </a:cubicBezTo>
                  <a:cubicBezTo>
                    <a:pt x="11185" y="20186"/>
                    <a:pt x="11148" y="20188"/>
                    <a:pt x="11148" y="20188"/>
                  </a:cubicBezTo>
                  <a:close/>
                  <a:moveTo>
                    <a:pt x="9255" y="20068"/>
                  </a:moveTo>
                  <a:cubicBezTo>
                    <a:pt x="7532" y="19781"/>
                    <a:pt x="5967" y="19031"/>
                    <a:pt x="4695" y="17941"/>
                  </a:cubicBezTo>
                  <a:cubicBezTo>
                    <a:pt x="5381" y="17466"/>
                    <a:pt x="6123" y="17063"/>
                    <a:pt x="6916" y="16757"/>
                  </a:cubicBezTo>
                  <a:cubicBezTo>
                    <a:pt x="7523" y="18017"/>
                    <a:pt x="8319" y="19136"/>
                    <a:pt x="9255" y="20068"/>
                  </a:cubicBezTo>
                  <a:moveTo>
                    <a:pt x="10451" y="11148"/>
                  </a:moveTo>
                  <a:lnTo>
                    <a:pt x="10451" y="15346"/>
                  </a:lnTo>
                  <a:cubicBezTo>
                    <a:pt x="9352" y="15380"/>
                    <a:pt x="8290" y="15559"/>
                    <a:pt x="7288" y="15882"/>
                  </a:cubicBezTo>
                  <a:cubicBezTo>
                    <a:pt x="6685" y="14445"/>
                    <a:pt x="6329" y="12844"/>
                    <a:pt x="6285" y="11148"/>
                  </a:cubicBezTo>
                  <a:cubicBezTo>
                    <a:pt x="6285" y="11148"/>
                    <a:pt x="10451" y="11148"/>
                    <a:pt x="10451" y="11148"/>
                  </a:cubicBezTo>
                  <a:close/>
                  <a:moveTo>
                    <a:pt x="7041" y="6324"/>
                  </a:moveTo>
                  <a:cubicBezTo>
                    <a:pt x="8115" y="6696"/>
                    <a:pt x="9260" y="6913"/>
                    <a:pt x="10451" y="6950"/>
                  </a:cubicBezTo>
                  <a:lnTo>
                    <a:pt x="10451" y="10451"/>
                  </a:lnTo>
                  <a:lnTo>
                    <a:pt x="6285" y="10451"/>
                  </a:lnTo>
                  <a:cubicBezTo>
                    <a:pt x="6324" y="8992"/>
                    <a:pt x="6581" y="7598"/>
                    <a:pt x="7041" y="6324"/>
                  </a:cubicBezTo>
                  <a:moveTo>
                    <a:pt x="6651" y="5442"/>
                  </a:moveTo>
                  <a:cubicBezTo>
                    <a:pt x="5790" y="5084"/>
                    <a:pt x="4993" y="4609"/>
                    <a:pt x="4263" y="4050"/>
                  </a:cubicBezTo>
                  <a:cubicBezTo>
                    <a:pt x="5606" y="2749"/>
                    <a:pt x="7332" y="1851"/>
                    <a:pt x="9255" y="1531"/>
                  </a:cubicBezTo>
                  <a:cubicBezTo>
                    <a:pt x="8175" y="2610"/>
                    <a:pt x="7286" y="3939"/>
                    <a:pt x="6651" y="5442"/>
                  </a:cubicBezTo>
                  <a:moveTo>
                    <a:pt x="10451" y="1411"/>
                  </a:moveTo>
                  <a:lnTo>
                    <a:pt x="10451" y="6253"/>
                  </a:lnTo>
                  <a:cubicBezTo>
                    <a:pt x="9352" y="6217"/>
                    <a:pt x="8296" y="6021"/>
                    <a:pt x="7303" y="5681"/>
                  </a:cubicBezTo>
                  <a:cubicBezTo>
                    <a:pt x="8029" y="3972"/>
                    <a:pt x="9101" y="2507"/>
                    <a:pt x="10415" y="1413"/>
                  </a:cubicBezTo>
                  <a:cubicBezTo>
                    <a:pt x="10427" y="1412"/>
                    <a:pt x="10439" y="1411"/>
                    <a:pt x="10451" y="1411"/>
                  </a:cubicBezTo>
                  <a:moveTo>
                    <a:pt x="12344" y="1531"/>
                  </a:moveTo>
                  <a:cubicBezTo>
                    <a:pt x="14267" y="1851"/>
                    <a:pt x="15993" y="2749"/>
                    <a:pt x="17336" y="4050"/>
                  </a:cubicBezTo>
                  <a:cubicBezTo>
                    <a:pt x="16606" y="4609"/>
                    <a:pt x="15809" y="5084"/>
                    <a:pt x="14948" y="5442"/>
                  </a:cubicBezTo>
                  <a:cubicBezTo>
                    <a:pt x="14313" y="3939"/>
                    <a:pt x="13424" y="2610"/>
                    <a:pt x="12344" y="1531"/>
                  </a:cubicBezTo>
                  <a:moveTo>
                    <a:pt x="11184" y="1413"/>
                  </a:moveTo>
                  <a:cubicBezTo>
                    <a:pt x="12498" y="2507"/>
                    <a:pt x="13570" y="3972"/>
                    <a:pt x="14296" y="5681"/>
                  </a:cubicBezTo>
                  <a:cubicBezTo>
                    <a:pt x="13303" y="6021"/>
                    <a:pt x="12247" y="6217"/>
                    <a:pt x="11148" y="6253"/>
                  </a:cubicBezTo>
                  <a:lnTo>
                    <a:pt x="11148" y="1411"/>
                  </a:lnTo>
                  <a:cubicBezTo>
                    <a:pt x="11160" y="1411"/>
                    <a:pt x="11172" y="1412"/>
                    <a:pt x="11184" y="1413"/>
                  </a:cubicBezTo>
                  <a:moveTo>
                    <a:pt x="10414" y="20186"/>
                  </a:moveTo>
                  <a:cubicBezTo>
                    <a:pt x="9256" y="19223"/>
                    <a:pt x="8285" y="17970"/>
                    <a:pt x="7574" y="16516"/>
                  </a:cubicBezTo>
                  <a:cubicBezTo>
                    <a:pt x="8486" y="16231"/>
                    <a:pt x="9453" y="16075"/>
                    <a:pt x="10451" y="16043"/>
                  </a:cubicBezTo>
                  <a:lnTo>
                    <a:pt x="10451" y="20188"/>
                  </a:lnTo>
                  <a:cubicBezTo>
                    <a:pt x="10451" y="20188"/>
                    <a:pt x="10414" y="20186"/>
                    <a:pt x="10414" y="20186"/>
                  </a:cubicBezTo>
                  <a:close/>
                  <a:moveTo>
                    <a:pt x="20188" y="10451"/>
                  </a:moveTo>
                  <a:lnTo>
                    <a:pt x="16010" y="10451"/>
                  </a:lnTo>
                  <a:cubicBezTo>
                    <a:pt x="15972" y="8908"/>
                    <a:pt x="15698" y="7433"/>
                    <a:pt x="15211" y="6084"/>
                  </a:cubicBezTo>
                  <a:cubicBezTo>
                    <a:pt x="16151" y="5691"/>
                    <a:pt x="17020" y="5170"/>
                    <a:pt x="17814" y="4553"/>
                  </a:cubicBezTo>
                  <a:cubicBezTo>
                    <a:pt x="19223" y="6135"/>
                    <a:pt x="20105" y="8190"/>
                    <a:pt x="20188" y="10451"/>
                  </a:cubicBezTo>
                  <a:moveTo>
                    <a:pt x="10800" y="0"/>
                  </a:moveTo>
                  <a:cubicBezTo>
                    <a:pt x="4835" y="0"/>
                    <a:pt x="0" y="4835"/>
                    <a:pt x="0" y="10800"/>
                  </a:cubicBezTo>
                  <a:cubicBezTo>
                    <a:pt x="0" y="16764"/>
                    <a:pt x="4835" y="21600"/>
                    <a:pt x="10800" y="21600"/>
                  </a:cubicBezTo>
                  <a:cubicBezTo>
                    <a:pt x="16764" y="21600"/>
                    <a:pt x="21600" y="16764"/>
                    <a:pt x="21600" y="10800"/>
                  </a:cubicBezTo>
                  <a:cubicBezTo>
                    <a:pt x="21600" y="4835"/>
                    <a:pt x="16764" y="0"/>
                    <a:pt x="10800" y="0"/>
                  </a:cubicBezTo>
                </a:path>
              </a:pathLst>
            </a:custGeom>
            <a:solidFill>
              <a:schemeClr val="bg1"/>
            </a:solidFill>
            <a:ln>
              <a:noFill/>
            </a:ln>
            <a:effec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grpSp>
      <p:grpSp>
        <p:nvGrpSpPr>
          <p:cNvPr id="4" name="Group 3"/>
          <p:cNvGrpSpPr/>
          <p:nvPr/>
        </p:nvGrpSpPr>
        <p:grpSpPr>
          <a:xfrm>
            <a:off x="1705354" y="3023560"/>
            <a:ext cx="1235317" cy="1235317"/>
            <a:chOff x="834525" y="3220410"/>
            <a:chExt cx="1235317" cy="1235317"/>
          </a:xfrm>
        </p:grpSpPr>
        <p:sp>
          <p:nvSpPr>
            <p:cNvPr id="10" name="Partial Circle 9"/>
            <p:cNvSpPr/>
            <p:nvPr/>
          </p:nvSpPr>
          <p:spPr>
            <a:xfrm>
              <a:off x="834525" y="3220410"/>
              <a:ext cx="1235317" cy="1235317"/>
            </a:xfrm>
            <a:prstGeom prst="pi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11" name="Oval 10"/>
            <p:cNvSpPr/>
            <p:nvPr/>
          </p:nvSpPr>
          <p:spPr>
            <a:xfrm>
              <a:off x="988057" y="3373942"/>
              <a:ext cx="928254" cy="9282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19" name="Group 18"/>
            <p:cNvGrpSpPr/>
            <p:nvPr/>
          </p:nvGrpSpPr>
          <p:grpSpPr>
            <a:xfrm>
              <a:off x="1312032" y="3651502"/>
              <a:ext cx="259540" cy="378334"/>
              <a:chOff x="5429367" y="4908078"/>
              <a:chExt cx="319088" cy="465138"/>
            </a:xfrm>
            <a:solidFill>
              <a:schemeClr val="bg1"/>
            </a:solidFill>
          </p:grpSpPr>
          <p:sp>
            <p:nvSpPr>
              <p:cNvPr id="20" name="AutoShape 97"/>
              <p:cNvSpPr/>
              <p:nvPr/>
            </p:nvSpPr>
            <p:spPr bwMode="auto">
              <a:xfrm>
                <a:off x="5429367" y="4908078"/>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sp>
            <p:nvSpPr>
              <p:cNvPr id="21" name="AutoShape 98"/>
              <p:cNvSpPr/>
              <p:nvPr/>
            </p:nvSpPr>
            <p:spPr bwMode="auto">
              <a:xfrm>
                <a:off x="5559542" y="4951734"/>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sp>
            <p:nvSpPr>
              <p:cNvPr id="22" name="AutoShape 99"/>
              <p:cNvSpPr/>
              <p:nvPr/>
            </p:nvSpPr>
            <p:spPr bwMode="auto">
              <a:xfrm>
                <a:off x="5574623" y="5315272"/>
                <a:ext cx="285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grpSp>
      </p:grpSp>
      <p:grpSp>
        <p:nvGrpSpPr>
          <p:cNvPr id="2" name="Group 1"/>
          <p:cNvGrpSpPr/>
          <p:nvPr/>
        </p:nvGrpSpPr>
        <p:grpSpPr>
          <a:xfrm>
            <a:off x="1711069" y="1564404"/>
            <a:ext cx="1235317" cy="1235317"/>
            <a:chOff x="834525" y="1766334"/>
            <a:chExt cx="1235317" cy="1235317"/>
          </a:xfrm>
        </p:grpSpPr>
        <p:sp>
          <p:nvSpPr>
            <p:cNvPr id="5" name="Partial Circle 4"/>
            <p:cNvSpPr/>
            <p:nvPr/>
          </p:nvSpPr>
          <p:spPr>
            <a:xfrm>
              <a:off x="834525" y="1766334"/>
              <a:ext cx="1235317" cy="1235317"/>
            </a:xfrm>
            <a:prstGeom prst="pi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cs typeface="+mn-ea"/>
                <a:sym typeface="+mn-lt"/>
              </a:endParaRPr>
            </a:p>
          </p:txBody>
        </p:sp>
        <p:sp>
          <p:nvSpPr>
            <p:cNvPr id="3" name="Oval 2"/>
            <p:cNvSpPr/>
            <p:nvPr/>
          </p:nvSpPr>
          <p:spPr>
            <a:xfrm>
              <a:off x="988057" y="1919866"/>
              <a:ext cx="928254" cy="92825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nvGrpSpPr>
            <p:cNvPr id="23" name="Group 22"/>
            <p:cNvGrpSpPr/>
            <p:nvPr/>
          </p:nvGrpSpPr>
          <p:grpSpPr>
            <a:xfrm>
              <a:off x="1257790" y="2211884"/>
              <a:ext cx="378333" cy="354445"/>
              <a:chOff x="5368132" y="3540125"/>
              <a:chExt cx="465138" cy="435769"/>
            </a:xfrm>
            <a:solidFill>
              <a:schemeClr val="bg1"/>
            </a:solidFill>
          </p:grpSpPr>
          <p:sp>
            <p:nvSpPr>
              <p:cNvPr id="24" name="AutoShape 110"/>
              <p:cNvSpPr/>
              <p:nvPr/>
            </p:nvSpPr>
            <p:spPr bwMode="auto">
              <a:xfrm>
                <a:off x="5426869" y="3598069"/>
                <a:ext cx="347663" cy="2325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699" y="20255"/>
                    </a:moveTo>
                    <a:lnTo>
                      <a:pt x="899" y="20255"/>
                    </a:lnTo>
                    <a:lnTo>
                      <a:pt x="899" y="1350"/>
                    </a:lnTo>
                    <a:lnTo>
                      <a:pt x="20699" y="1350"/>
                    </a:lnTo>
                    <a:cubicBezTo>
                      <a:pt x="20699" y="1350"/>
                      <a:pt x="20699" y="20255"/>
                      <a:pt x="20699" y="20255"/>
                    </a:cubicBezTo>
                    <a:close/>
                    <a:moveTo>
                      <a:pt x="20699" y="0"/>
                    </a:moveTo>
                    <a:lnTo>
                      <a:pt x="899" y="5"/>
                    </a:lnTo>
                    <a:cubicBezTo>
                      <a:pt x="402" y="5"/>
                      <a:pt x="0" y="603"/>
                      <a:pt x="0" y="1350"/>
                    </a:cubicBezTo>
                    <a:lnTo>
                      <a:pt x="0" y="20249"/>
                    </a:lnTo>
                    <a:cubicBezTo>
                      <a:pt x="0" y="20996"/>
                      <a:pt x="402" y="21599"/>
                      <a:pt x="899" y="21599"/>
                    </a:cubicBezTo>
                    <a:lnTo>
                      <a:pt x="20699" y="21599"/>
                    </a:lnTo>
                    <a:cubicBezTo>
                      <a:pt x="21197" y="21599"/>
                      <a:pt x="21600" y="20996"/>
                      <a:pt x="21600" y="20249"/>
                    </a:cubicBezTo>
                    <a:lnTo>
                      <a:pt x="21600" y="1350"/>
                    </a:lnTo>
                    <a:cubicBezTo>
                      <a:pt x="21600" y="603"/>
                      <a:pt x="21197" y="0"/>
                      <a:pt x="20699" y="0"/>
                    </a:cubicBezTo>
                  </a:path>
                </a:pathLst>
              </a:custGeom>
              <a:grpFill/>
              <a:ln>
                <a:noFill/>
              </a:ln>
              <a:effec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sp>
            <p:nvSpPr>
              <p:cNvPr id="25" name="AutoShape 111"/>
              <p:cNvSpPr/>
              <p:nvPr/>
            </p:nvSpPr>
            <p:spPr bwMode="auto">
              <a:xfrm>
                <a:off x="5368132" y="3540125"/>
                <a:ext cx="465138" cy="4357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6562"/>
                    </a:moveTo>
                    <a:cubicBezTo>
                      <a:pt x="20249" y="16959"/>
                      <a:pt x="19946" y="17282"/>
                      <a:pt x="19575" y="17282"/>
                    </a:cubicBezTo>
                    <a:lnTo>
                      <a:pt x="13499" y="17282"/>
                    </a:lnTo>
                    <a:lnTo>
                      <a:pt x="8099" y="17282"/>
                    </a:lnTo>
                    <a:lnTo>
                      <a:pt x="2024" y="17282"/>
                    </a:lnTo>
                    <a:cubicBezTo>
                      <a:pt x="1651" y="17282"/>
                      <a:pt x="1349" y="16959"/>
                      <a:pt x="1349" y="16562"/>
                    </a:cubicBezTo>
                    <a:lnTo>
                      <a:pt x="1349" y="2160"/>
                    </a:lnTo>
                    <a:cubicBezTo>
                      <a:pt x="1349" y="1762"/>
                      <a:pt x="1651" y="1440"/>
                      <a:pt x="2024" y="1440"/>
                    </a:cubicBezTo>
                    <a:lnTo>
                      <a:pt x="19575" y="1440"/>
                    </a:lnTo>
                    <a:cubicBezTo>
                      <a:pt x="19946" y="1440"/>
                      <a:pt x="20249" y="1762"/>
                      <a:pt x="20249" y="2160"/>
                    </a:cubicBezTo>
                    <a:cubicBezTo>
                      <a:pt x="20249" y="2160"/>
                      <a:pt x="20249" y="16562"/>
                      <a:pt x="20249" y="16562"/>
                    </a:cubicBezTo>
                    <a:close/>
                    <a:moveTo>
                      <a:pt x="19575" y="0"/>
                    </a:moveTo>
                    <a:lnTo>
                      <a:pt x="2024" y="0"/>
                    </a:lnTo>
                    <a:cubicBezTo>
                      <a:pt x="905" y="0"/>
                      <a:pt x="0" y="966"/>
                      <a:pt x="0" y="2160"/>
                    </a:cubicBezTo>
                    <a:lnTo>
                      <a:pt x="0" y="16562"/>
                    </a:lnTo>
                    <a:cubicBezTo>
                      <a:pt x="0" y="17753"/>
                      <a:pt x="903" y="18718"/>
                      <a:pt x="2018" y="18721"/>
                    </a:cubicBezTo>
                    <a:lnTo>
                      <a:pt x="8774" y="18721"/>
                    </a:lnTo>
                    <a:lnTo>
                      <a:pt x="8774" y="19597"/>
                    </a:lnTo>
                    <a:lnTo>
                      <a:pt x="4561" y="20181"/>
                    </a:lnTo>
                    <a:cubicBezTo>
                      <a:pt x="4260" y="20262"/>
                      <a:pt x="4049" y="20549"/>
                      <a:pt x="4049" y="20879"/>
                    </a:cubicBezTo>
                    <a:cubicBezTo>
                      <a:pt x="4049" y="21277"/>
                      <a:pt x="4351" y="21599"/>
                      <a:pt x="4724" y="21599"/>
                    </a:cubicBezTo>
                    <a:lnTo>
                      <a:pt x="16874" y="21599"/>
                    </a:lnTo>
                    <a:cubicBezTo>
                      <a:pt x="17248" y="21599"/>
                      <a:pt x="17549" y="21277"/>
                      <a:pt x="17549" y="20879"/>
                    </a:cubicBezTo>
                    <a:cubicBezTo>
                      <a:pt x="17549" y="20549"/>
                      <a:pt x="17339" y="20262"/>
                      <a:pt x="17038" y="20181"/>
                    </a:cubicBezTo>
                    <a:lnTo>
                      <a:pt x="12824" y="19597"/>
                    </a:lnTo>
                    <a:lnTo>
                      <a:pt x="12824" y="18721"/>
                    </a:lnTo>
                    <a:lnTo>
                      <a:pt x="19581" y="18721"/>
                    </a:lnTo>
                    <a:cubicBezTo>
                      <a:pt x="20696" y="18718"/>
                      <a:pt x="21600" y="17753"/>
                      <a:pt x="21600" y="16562"/>
                    </a:cubicBezTo>
                    <a:lnTo>
                      <a:pt x="21600" y="2160"/>
                    </a:lnTo>
                    <a:cubicBezTo>
                      <a:pt x="21600" y="966"/>
                      <a:pt x="20692" y="0"/>
                      <a:pt x="19575" y="0"/>
                    </a:cubicBezTo>
                  </a:path>
                </a:pathLst>
              </a:custGeom>
              <a:grpFill/>
              <a:ln>
                <a:noFill/>
              </a:ln>
              <a:effec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grpSp>
      </p:grpSp>
      <p:grpSp>
        <p:nvGrpSpPr>
          <p:cNvPr id="30" name="组合 29"/>
          <p:cNvGrpSpPr/>
          <p:nvPr/>
        </p:nvGrpSpPr>
        <p:grpSpPr>
          <a:xfrm rot="0">
            <a:off x="9168130" y="3898900"/>
            <a:ext cx="2094230" cy="2094230"/>
            <a:chOff x="14983" y="6226"/>
            <a:chExt cx="3099" cy="3099"/>
          </a:xfrm>
        </p:grpSpPr>
        <p:sp>
          <p:nvSpPr>
            <p:cNvPr id="38" name="Right Triangle 37"/>
            <p:cNvSpPr/>
            <p:nvPr/>
          </p:nvSpPr>
          <p:spPr>
            <a:xfrm flipH="1">
              <a:off x="14983" y="6226"/>
              <a:ext cx="3099" cy="3099"/>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41" name="AutoShape 135"/>
            <p:cNvSpPr/>
            <p:nvPr/>
          </p:nvSpPr>
          <p:spPr bwMode="auto">
            <a:xfrm rot="10800000">
              <a:off x="16756" y="8100"/>
              <a:ext cx="733" cy="731"/>
            </a:xfrm>
            <a:custGeom>
              <a:avLst/>
              <a:gdLst>
                <a:gd name="connsiteX0" fmla="*/ 0 w 609473"/>
                <a:gd name="connsiteY0" fmla="*/ 164276 h 608485"/>
                <a:gd name="connsiteX1" fmla="*/ 609473 w 609473"/>
                <a:gd name="connsiteY1" fmla="*/ 164276 h 608485"/>
                <a:gd name="connsiteX2" fmla="*/ 609473 w 609473"/>
                <a:gd name="connsiteY2" fmla="*/ 608485 h 608485"/>
                <a:gd name="connsiteX3" fmla="*/ 0 w 609473"/>
                <a:gd name="connsiteY3" fmla="*/ 608485 h 608485"/>
                <a:gd name="connsiteX4" fmla="*/ 76846 w 609473"/>
                <a:gd name="connsiteY4" fmla="*/ 88983 h 608485"/>
                <a:gd name="connsiteX5" fmla="*/ 532557 w 609473"/>
                <a:gd name="connsiteY5" fmla="*/ 88983 h 608485"/>
                <a:gd name="connsiteX6" fmla="*/ 532557 w 609473"/>
                <a:gd name="connsiteY6" fmla="*/ 113257 h 608485"/>
                <a:gd name="connsiteX7" fmla="*/ 76846 w 609473"/>
                <a:gd name="connsiteY7" fmla="*/ 113257 h 608485"/>
                <a:gd name="connsiteX8" fmla="*/ 139931 w 609473"/>
                <a:gd name="connsiteY8" fmla="*/ 0 h 608485"/>
                <a:gd name="connsiteX9" fmla="*/ 469542 w 609473"/>
                <a:gd name="connsiteY9" fmla="*/ 0 h 608485"/>
                <a:gd name="connsiteX10" fmla="*/ 469542 w 609473"/>
                <a:gd name="connsiteY10" fmla="*/ 24345 h 608485"/>
                <a:gd name="connsiteX11" fmla="*/ 139931 w 609473"/>
                <a:gd name="connsiteY11" fmla="*/ 24345 h 60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473" h="608485">
                  <a:moveTo>
                    <a:pt x="0" y="164276"/>
                  </a:moveTo>
                  <a:lnTo>
                    <a:pt x="609473" y="164276"/>
                  </a:lnTo>
                  <a:lnTo>
                    <a:pt x="609473" y="608485"/>
                  </a:lnTo>
                  <a:lnTo>
                    <a:pt x="0" y="608485"/>
                  </a:lnTo>
                  <a:close/>
                  <a:moveTo>
                    <a:pt x="76846" y="88983"/>
                  </a:moveTo>
                  <a:lnTo>
                    <a:pt x="532557" y="88983"/>
                  </a:lnTo>
                  <a:lnTo>
                    <a:pt x="532557" y="113257"/>
                  </a:lnTo>
                  <a:lnTo>
                    <a:pt x="76846" y="113257"/>
                  </a:lnTo>
                  <a:close/>
                  <a:moveTo>
                    <a:pt x="139931" y="0"/>
                  </a:moveTo>
                  <a:lnTo>
                    <a:pt x="469542" y="0"/>
                  </a:lnTo>
                  <a:lnTo>
                    <a:pt x="469542" y="24345"/>
                  </a:lnTo>
                  <a:lnTo>
                    <a:pt x="139931" y="24345"/>
                  </a:lnTo>
                  <a:close/>
                </a:path>
              </a:pathLst>
            </a:custGeom>
            <a:solidFill>
              <a:schemeClr val="bg1"/>
            </a:solidFill>
            <a:ln>
              <a:noFill/>
            </a:ln>
            <a:effectLst/>
          </p:spPr>
          <p:txBody>
            <a:bodyPr lIns="19050" tIns="19050" rIns="19050" bIns="1905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grpSp>
      <p:sp>
        <p:nvSpPr>
          <p:cNvPr id="29" name="矩形 28"/>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系统健壮性</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0-#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750" fill="hold"/>
                                        <p:tgtEl>
                                          <p:spTgt spid="4"/>
                                        </p:tgtEl>
                                        <p:attrNameLst>
                                          <p:attrName>ppt_x</p:attrName>
                                        </p:attrNameLst>
                                      </p:cBhvr>
                                      <p:tavLst>
                                        <p:tav tm="0">
                                          <p:val>
                                            <p:strVal val="0-#ppt_w/2"/>
                                          </p:val>
                                        </p:tav>
                                        <p:tav tm="100000">
                                          <p:val>
                                            <p:strVal val="#ppt_x"/>
                                          </p:val>
                                        </p:tav>
                                      </p:tavLst>
                                    </p:anim>
                                    <p:anim calcmode="lin" valueType="num">
                                      <p:cBhvr additive="base">
                                        <p:cTn id="13" dur="75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 presetClass="entr" presetSubtype="8" decel="100000"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750" fill="hold"/>
                                        <p:tgtEl>
                                          <p:spTgt spid="6"/>
                                        </p:tgtEl>
                                        <p:attrNameLst>
                                          <p:attrName>ppt_x</p:attrName>
                                        </p:attrNameLst>
                                      </p:cBhvr>
                                      <p:tavLst>
                                        <p:tav tm="0">
                                          <p:val>
                                            <p:strVal val="0-#ppt_w/2"/>
                                          </p:val>
                                        </p:tav>
                                        <p:tav tm="100000">
                                          <p:val>
                                            <p:strVal val="#ppt_x"/>
                                          </p:val>
                                        </p:tav>
                                      </p:tavLst>
                                    </p:anim>
                                    <p:anim calcmode="lin" valueType="num">
                                      <p:cBhvr additive="base">
                                        <p:cTn id="18" dur="75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1797141"/>
            <a:ext cx="12192000" cy="3263718"/>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rot="18900000">
            <a:off x="5154557" y="1936338"/>
            <a:ext cx="2985324" cy="2985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18900000">
            <a:off x="3585301" y="3886003"/>
            <a:ext cx="1724108" cy="1724108"/>
          </a:xfrm>
          <a:prstGeom prst="rect">
            <a:avLst/>
          </a:prstGeom>
          <a:solidFill>
            <a:schemeClr val="accent1"/>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18900000">
            <a:off x="2273566" y="2581459"/>
            <a:ext cx="1724108" cy="1724108"/>
          </a:xfrm>
          <a:prstGeom prst="rect">
            <a:avLst/>
          </a:prstGeom>
          <a:solidFill>
            <a:schemeClr val="accent3"/>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18900000">
            <a:off x="3582373" y="1249635"/>
            <a:ext cx="1724108" cy="1724108"/>
          </a:xfrm>
          <a:prstGeom prst="rect">
            <a:avLst/>
          </a:prstGeom>
          <a:solidFill>
            <a:schemeClr val="accent2"/>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文本框 12"/>
          <p:cNvSpPr txBox="1"/>
          <p:nvPr/>
        </p:nvSpPr>
        <p:spPr>
          <a:xfrm>
            <a:off x="5946925" y="2327699"/>
            <a:ext cx="1207454" cy="1003102"/>
          </a:xfrm>
          <a:prstGeom prst="rect">
            <a:avLst/>
          </a:prstGeom>
          <a:noFill/>
          <a:ln w="117475">
            <a:noFill/>
          </a:ln>
        </p:spPr>
        <p:txBody>
          <a:bodyPr wrap="none" rtlCol="0">
            <a:prstTxWarp prst="textPlain">
              <a:avLst/>
            </a:prstTxWarp>
            <a:spAutoFit/>
          </a:bodyPr>
          <a:lstStyle/>
          <a:p>
            <a:r>
              <a:rPr lang="en-US" altLang="zh-CN"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4</a:t>
            </a:r>
            <a:endParaRPr lang="zh-CN" altLang="en-US"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
        <p:nvSpPr>
          <p:cNvPr id="15" name="矩形 14"/>
          <p:cNvSpPr/>
          <p:nvPr/>
        </p:nvSpPr>
        <p:spPr>
          <a:xfrm>
            <a:off x="5264150" y="3397885"/>
            <a:ext cx="2766695" cy="1076325"/>
          </a:xfrm>
          <a:prstGeom prst="rect">
            <a:avLst/>
          </a:prstGeom>
        </p:spPr>
        <p:txBody>
          <a:bodyPr wrap="square">
            <a:spAutoFit/>
          </a:bodyPr>
          <a:lstStyle/>
          <a:p>
            <a:pPr algn="ctr"/>
            <a:r>
              <a:rPr lang="en-US" sz="3200" dirty="0">
                <a:latin typeface="站酷快乐体" panose="02010600030101010101" charset="-128"/>
                <a:ea typeface="站酷快乐体" panose="02010600030101010101" charset="-128"/>
                <a:cs typeface="站酷快乐体" panose="02010600030101010101" charset="-128"/>
                <a:sym typeface="思源黑体" panose="020B0400000000000000" pitchFamily="34" charset="-122"/>
              </a:rPr>
              <a:t>ER</a:t>
            </a:r>
            <a:r>
              <a:rPr lang="zh-CN" altLang="en-US" sz="3200" dirty="0">
                <a:latin typeface="站酷快乐体" panose="02010600030101010101" charset="-128"/>
                <a:ea typeface="站酷快乐体" panose="02010600030101010101" charset="-128"/>
                <a:cs typeface="站酷快乐体" panose="02010600030101010101" charset="-128"/>
                <a:sym typeface="思源黑体" panose="020B0400000000000000" pitchFamily="34" charset="-122"/>
              </a:rPr>
              <a:t>图和表结构设计</a:t>
            </a:r>
            <a:endParaRPr lang="zh-CN" altLang="en-US" sz="3200" dirty="0">
              <a:latin typeface="汉仪粗圆简" panose="02010600000101010101" charset="-122"/>
              <a:ea typeface="汉仪粗圆简" panose="02010600000101010101" charset="-122"/>
              <a:sym typeface="思源黑体" panose="020B0400000000000000" pitchFamily="34" charset="-122"/>
            </a:endParaRPr>
          </a:p>
        </p:txBody>
      </p:sp>
      <p:grpSp>
        <p:nvGrpSpPr>
          <p:cNvPr id="5" name="组合 4"/>
          <p:cNvGrpSpPr/>
          <p:nvPr/>
        </p:nvGrpSpPr>
        <p:grpSpPr>
          <a:xfrm>
            <a:off x="4612405" y="1091381"/>
            <a:ext cx="4069626" cy="4599650"/>
            <a:chOff x="5550217" y="1317873"/>
            <a:chExt cx="3668840" cy="4146666"/>
          </a:xfrm>
        </p:grpSpPr>
        <p:sp>
          <p:nvSpPr>
            <p:cNvPr id="16" name="矩形 22"/>
            <p:cNvSpPr/>
            <p:nvPr/>
          </p:nvSpPr>
          <p:spPr>
            <a:xfrm rot="18900000" flipV="1">
              <a:off x="5550217" y="1317873"/>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22"/>
            <p:cNvSpPr/>
            <p:nvPr/>
          </p:nvSpPr>
          <p:spPr>
            <a:xfrm rot="2700000">
              <a:off x="5550217" y="1795699"/>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8" name="iconfont-10459-4813179"/>
          <p:cNvSpPr>
            <a:spLocks noChangeAspect="1"/>
          </p:cNvSpPr>
          <p:nvPr/>
        </p:nvSpPr>
        <p:spPr bwMode="auto">
          <a:xfrm>
            <a:off x="4231433" y="1797141"/>
            <a:ext cx="609685" cy="600087"/>
          </a:xfrm>
          <a:custGeom>
            <a:avLst/>
            <a:gdLst>
              <a:gd name="T0" fmla="*/ 5779 w 11379"/>
              <a:gd name="T1" fmla="*/ 0 h 11200"/>
              <a:gd name="T2" fmla="*/ 711 w 11379"/>
              <a:gd name="T3" fmla="*/ 3215 h 11200"/>
              <a:gd name="T4" fmla="*/ 711 w 11379"/>
              <a:gd name="T5" fmla="*/ 7985 h 11200"/>
              <a:gd name="T6" fmla="*/ 5779 w 11379"/>
              <a:gd name="T7" fmla="*/ 11200 h 11200"/>
              <a:gd name="T8" fmla="*/ 11379 w 11379"/>
              <a:gd name="T9" fmla="*/ 5600 h 11200"/>
              <a:gd name="T10" fmla="*/ 5779 w 11379"/>
              <a:gd name="T11" fmla="*/ 0 h 11200"/>
              <a:gd name="T12" fmla="*/ 979 w 11379"/>
              <a:gd name="T13" fmla="*/ 5600 h 11200"/>
              <a:gd name="T14" fmla="*/ 1244 w 11379"/>
              <a:gd name="T15" fmla="*/ 4022 h 11200"/>
              <a:gd name="T16" fmla="*/ 2581 w 11379"/>
              <a:gd name="T17" fmla="*/ 5600 h 11200"/>
              <a:gd name="T18" fmla="*/ 1244 w 11379"/>
              <a:gd name="T19" fmla="*/ 7178 h 11200"/>
              <a:gd name="T20" fmla="*/ 979 w 11379"/>
              <a:gd name="T21" fmla="*/ 5600 h 11200"/>
              <a:gd name="T22" fmla="*/ 9173 w 11379"/>
              <a:gd name="T23" fmla="*/ 8994 h 11200"/>
              <a:gd name="T24" fmla="*/ 5109 w 11379"/>
              <a:gd name="T25" fmla="*/ 10352 h 11200"/>
              <a:gd name="T26" fmla="*/ 1578 w 11379"/>
              <a:gd name="T27" fmla="*/ 7925 h 11200"/>
              <a:gd name="T28" fmla="*/ 3379 w 11379"/>
              <a:gd name="T29" fmla="*/ 5600 h 11200"/>
              <a:gd name="T30" fmla="*/ 1578 w 11379"/>
              <a:gd name="T31" fmla="*/ 3276 h 11200"/>
              <a:gd name="T32" fmla="*/ 4778 w 11379"/>
              <a:gd name="T33" fmla="*/ 901 h 11200"/>
              <a:gd name="T34" fmla="*/ 8669 w 11379"/>
              <a:gd name="T35" fmla="*/ 1761 h 11200"/>
              <a:gd name="T36" fmla="*/ 10571 w 11379"/>
              <a:gd name="T37" fmla="*/ 5263 h 11200"/>
              <a:gd name="T38" fmla="*/ 9173 w 11379"/>
              <a:gd name="T39" fmla="*/ 8994 h 11200"/>
              <a:gd name="T40" fmla="*/ 10179 w 11379"/>
              <a:gd name="T41" fmla="*/ 2400 h 11200"/>
              <a:gd name="T42" fmla="*/ 1379 w 11379"/>
              <a:gd name="T43" fmla="*/ 2400 h 11200"/>
              <a:gd name="T44" fmla="*/ 1379 w 11379"/>
              <a:gd name="T45" fmla="*/ 3200 h 11200"/>
              <a:gd name="T46" fmla="*/ 10179 w 11379"/>
              <a:gd name="T47" fmla="*/ 3200 h 11200"/>
              <a:gd name="T48" fmla="*/ 10179 w 11379"/>
              <a:gd name="T49" fmla="*/ 2400 h 11200"/>
              <a:gd name="T50" fmla="*/ 10179 w 11379"/>
              <a:gd name="T51" fmla="*/ 8000 h 11200"/>
              <a:gd name="T52" fmla="*/ 1379 w 11379"/>
              <a:gd name="T53" fmla="*/ 8000 h 11200"/>
              <a:gd name="T54" fmla="*/ 1379 w 11379"/>
              <a:gd name="T55" fmla="*/ 8800 h 11200"/>
              <a:gd name="T56" fmla="*/ 10179 w 11379"/>
              <a:gd name="T57" fmla="*/ 8800 h 11200"/>
              <a:gd name="T58" fmla="*/ 10179 w 11379"/>
              <a:gd name="T59" fmla="*/ 8000 h 11200"/>
              <a:gd name="T60" fmla="*/ 5379 w 11379"/>
              <a:gd name="T61" fmla="*/ 3600 h 11200"/>
              <a:gd name="T62" fmla="*/ 3779 w 11379"/>
              <a:gd name="T63" fmla="*/ 3600 h 11200"/>
              <a:gd name="T64" fmla="*/ 3779 w 11379"/>
              <a:gd name="T65" fmla="*/ 5200 h 11200"/>
              <a:gd name="T66" fmla="*/ 5379 w 11379"/>
              <a:gd name="T67" fmla="*/ 5200 h 11200"/>
              <a:gd name="T68" fmla="*/ 5379 w 11379"/>
              <a:gd name="T69" fmla="*/ 3600 h 11200"/>
              <a:gd name="T70" fmla="*/ 5379 w 11379"/>
              <a:gd name="T71" fmla="*/ 6000 h 11200"/>
              <a:gd name="T72" fmla="*/ 3779 w 11379"/>
              <a:gd name="T73" fmla="*/ 6000 h 11200"/>
              <a:gd name="T74" fmla="*/ 3779 w 11379"/>
              <a:gd name="T75" fmla="*/ 7600 h 11200"/>
              <a:gd name="T76" fmla="*/ 5379 w 11379"/>
              <a:gd name="T77" fmla="*/ 7600 h 11200"/>
              <a:gd name="T78" fmla="*/ 5379 w 11379"/>
              <a:gd name="T79" fmla="*/ 6000 h 11200"/>
              <a:gd name="T80" fmla="*/ 7379 w 11379"/>
              <a:gd name="T81" fmla="*/ 3600 h 11200"/>
              <a:gd name="T82" fmla="*/ 5779 w 11379"/>
              <a:gd name="T83" fmla="*/ 3600 h 11200"/>
              <a:gd name="T84" fmla="*/ 5779 w 11379"/>
              <a:gd name="T85" fmla="*/ 5200 h 11200"/>
              <a:gd name="T86" fmla="*/ 7379 w 11379"/>
              <a:gd name="T87" fmla="*/ 5200 h 11200"/>
              <a:gd name="T88" fmla="*/ 7379 w 11379"/>
              <a:gd name="T89" fmla="*/ 3600 h 11200"/>
              <a:gd name="T90" fmla="*/ 7379 w 11379"/>
              <a:gd name="T91" fmla="*/ 6000 h 11200"/>
              <a:gd name="T92" fmla="*/ 5779 w 11379"/>
              <a:gd name="T93" fmla="*/ 6000 h 11200"/>
              <a:gd name="T94" fmla="*/ 5779 w 11379"/>
              <a:gd name="T95" fmla="*/ 7600 h 11200"/>
              <a:gd name="T96" fmla="*/ 7379 w 11379"/>
              <a:gd name="T97" fmla="*/ 7600 h 11200"/>
              <a:gd name="T98" fmla="*/ 7379 w 11379"/>
              <a:gd name="T99" fmla="*/ 6000 h 11200"/>
              <a:gd name="T100" fmla="*/ 9379 w 11379"/>
              <a:gd name="T101" fmla="*/ 3600 h 11200"/>
              <a:gd name="T102" fmla="*/ 7779 w 11379"/>
              <a:gd name="T103" fmla="*/ 3600 h 11200"/>
              <a:gd name="T104" fmla="*/ 7779 w 11379"/>
              <a:gd name="T105" fmla="*/ 5200 h 11200"/>
              <a:gd name="T106" fmla="*/ 9379 w 11379"/>
              <a:gd name="T107" fmla="*/ 5200 h 11200"/>
              <a:gd name="T108" fmla="*/ 9379 w 11379"/>
              <a:gd name="T109" fmla="*/ 3600 h 11200"/>
              <a:gd name="T110" fmla="*/ 9379 w 11379"/>
              <a:gd name="T111" fmla="*/ 6000 h 11200"/>
              <a:gd name="T112" fmla="*/ 7779 w 11379"/>
              <a:gd name="T113" fmla="*/ 6000 h 11200"/>
              <a:gd name="T114" fmla="*/ 7779 w 11379"/>
              <a:gd name="T115" fmla="*/ 7600 h 11200"/>
              <a:gd name="T116" fmla="*/ 9379 w 11379"/>
              <a:gd name="T117" fmla="*/ 7600 h 11200"/>
              <a:gd name="T118" fmla="*/ 9379 w 11379"/>
              <a:gd name="T119" fmla="*/ 60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9" h="11200">
                <a:moveTo>
                  <a:pt x="5779" y="0"/>
                </a:moveTo>
                <a:cubicBezTo>
                  <a:pt x="3539" y="0"/>
                  <a:pt x="1607" y="1315"/>
                  <a:pt x="711" y="3215"/>
                </a:cubicBezTo>
                <a:cubicBezTo>
                  <a:pt x="0" y="4726"/>
                  <a:pt x="0" y="6474"/>
                  <a:pt x="711" y="7985"/>
                </a:cubicBezTo>
                <a:cubicBezTo>
                  <a:pt x="1607" y="9885"/>
                  <a:pt x="3539" y="11200"/>
                  <a:pt x="5779" y="11200"/>
                </a:cubicBezTo>
                <a:cubicBezTo>
                  <a:pt x="8872" y="11200"/>
                  <a:pt x="11379" y="8693"/>
                  <a:pt x="11379" y="5600"/>
                </a:cubicBezTo>
                <a:cubicBezTo>
                  <a:pt x="11379" y="2507"/>
                  <a:pt x="8872" y="0"/>
                  <a:pt x="5779" y="0"/>
                </a:cubicBezTo>
                <a:close/>
                <a:moveTo>
                  <a:pt x="979" y="5600"/>
                </a:moveTo>
                <a:cubicBezTo>
                  <a:pt x="978" y="5063"/>
                  <a:pt x="1068" y="4529"/>
                  <a:pt x="1244" y="4022"/>
                </a:cubicBezTo>
                <a:cubicBezTo>
                  <a:pt x="2016" y="4151"/>
                  <a:pt x="2581" y="4818"/>
                  <a:pt x="2581" y="5600"/>
                </a:cubicBezTo>
                <a:cubicBezTo>
                  <a:pt x="2581" y="6382"/>
                  <a:pt x="2016" y="7050"/>
                  <a:pt x="1244" y="7178"/>
                </a:cubicBezTo>
                <a:cubicBezTo>
                  <a:pt x="1068" y="6671"/>
                  <a:pt x="978" y="6137"/>
                  <a:pt x="979" y="5600"/>
                </a:cubicBezTo>
                <a:close/>
                <a:moveTo>
                  <a:pt x="9173" y="8994"/>
                </a:moveTo>
                <a:cubicBezTo>
                  <a:pt x="8107" y="10059"/>
                  <a:pt x="6602" y="10562"/>
                  <a:pt x="5109" y="10352"/>
                </a:cubicBezTo>
                <a:cubicBezTo>
                  <a:pt x="3617" y="10142"/>
                  <a:pt x="2309" y="9243"/>
                  <a:pt x="1578" y="7925"/>
                </a:cubicBezTo>
                <a:cubicBezTo>
                  <a:pt x="2638" y="7651"/>
                  <a:pt x="3379" y="6695"/>
                  <a:pt x="3379" y="5600"/>
                </a:cubicBezTo>
                <a:cubicBezTo>
                  <a:pt x="3379" y="4506"/>
                  <a:pt x="2638" y="3549"/>
                  <a:pt x="1578" y="3276"/>
                </a:cubicBezTo>
                <a:cubicBezTo>
                  <a:pt x="2251" y="2058"/>
                  <a:pt x="3418" y="1192"/>
                  <a:pt x="4778" y="901"/>
                </a:cubicBezTo>
                <a:cubicBezTo>
                  <a:pt x="6138" y="611"/>
                  <a:pt x="7558" y="924"/>
                  <a:pt x="8669" y="1761"/>
                </a:cubicBezTo>
                <a:cubicBezTo>
                  <a:pt x="9780" y="2598"/>
                  <a:pt x="10474" y="3875"/>
                  <a:pt x="10571" y="5263"/>
                </a:cubicBezTo>
                <a:cubicBezTo>
                  <a:pt x="10667" y="6650"/>
                  <a:pt x="10157" y="8011"/>
                  <a:pt x="9173" y="8994"/>
                </a:cubicBezTo>
                <a:close/>
                <a:moveTo>
                  <a:pt x="10179" y="2400"/>
                </a:moveTo>
                <a:lnTo>
                  <a:pt x="1379" y="2400"/>
                </a:lnTo>
                <a:lnTo>
                  <a:pt x="1379" y="3200"/>
                </a:lnTo>
                <a:lnTo>
                  <a:pt x="10179" y="3200"/>
                </a:lnTo>
                <a:lnTo>
                  <a:pt x="10179" y="2400"/>
                </a:lnTo>
                <a:close/>
                <a:moveTo>
                  <a:pt x="10179" y="8000"/>
                </a:moveTo>
                <a:lnTo>
                  <a:pt x="1379" y="8000"/>
                </a:lnTo>
                <a:lnTo>
                  <a:pt x="1379" y="8800"/>
                </a:lnTo>
                <a:lnTo>
                  <a:pt x="10179" y="8800"/>
                </a:lnTo>
                <a:lnTo>
                  <a:pt x="10179" y="8000"/>
                </a:lnTo>
                <a:close/>
                <a:moveTo>
                  <a:pt x="5379" y="3600"/>
                </a:moveTo>
                <a:lnTo>
                  <a:pt x="3779" y="3600"/>
                </a:lnTo>
                <a:lnTo>
                  <a:pt x="3779" y="5200"/>
                </a:lnTo>
                <a:lnTo>
                  <a:pt x="5379" y="5200"/>
                </a:lnTo>
                <a:lnTo>
                  <a:pt x="5379" y="3600"/>
                </a:lnTo>
                <a:close/>
                <a:moveTo>
                  <a:pt x="5379" y="6000"/>
                </a:moveTo>
                <a:lnTo>
                  <a:pt x="3779" y="6000"/>
                </a:lnTo>
                <a:lnTo>
                  <a:pt x="3779" y="7600"/>
                </a:lnTo>
                <a:lnTo>
                  <a:pt x="5379" y="7600"/>
                </a:lnTo>
                <a:lnTo>
                  <a:pt x="5379" y="6000"/>
                </a:lnTo>
                <a:close/>
                <a:moveTo>
                  <a:pt x="7379" y="3600"/>
                </a:moveTo>
                <a:lnTo>
                  <a:pt x="5779" y="3600"/>
                </a:lnTo>
                <a:lnTo>
                  <a:pt x="5779" y="5200"/>
                </a:lnTo>
                <a:lnTo>
                  <a:pt x="7379" y="5200"/>
                </a:lnTo>
                <a:lnTo>
                  <a:pt x="7379" y="3600"/>
                </a:lnTo>
                <a:close/>
                <a:moveTo>
                  <a:pt x="7379" y="6000"/>
                </a:moveTo>
                <a:lnTo>
                  <a:pt x="5779" y="6000"/>
                </a:lnTo>
                <a:lnTo>
                  <a:pt x="5779" y="7600"/>
                </a:lnTo>
                <a:lnTo>
                  <a:pt x="7379" y="7600"/>
                </a:lnTo>
                <a:lnTo>
                  <a:pt x="7379" y="6000"/>
                </a:lnTo>
                <a:close/>
                <a:moveTo>
                  <a:pt x="9379" y="3600"/>
                </a:moveTo>
                <a:lnTo>
                  <a:pt x="7779" y="3600"/>
                </a:lnTo>
                <a:lnTo>
                  <a:pt x="7779" y="5200"/>
                </a:lnTo>
                <a:lnTo>
                  <a:pt x="9379" y="5200"/>
                </a:lnTo>
                <a:lnTo>
                  <a:pt x="9379" y="3600"/>
                </a:lnTo>
                <a:close/>
                <a:moveTo>
                  <a:pt x="9379" y="6000"/>
                </a:moveTo>
                <a:lnTo>
                  <a:pt x="7779" y="6000"/>
                </a:lnTo>
                <a:lnTo>
                  <a:pt x="7779" y="7600"/>
                </a:lnTo>
                <a:lnTo>
                  <a:pt x="9379" y="7600"/>
                </a:lnTo>
                <a:lnTo>
                  <a:pt x="9379" y="6000"/>
                </a:lnTo>
                <a:close/>
              </a:path>
            </a:pathLst>
          </a:custGeom>
          <a:solidFill>
            <a:schemeClr val="bg1"/>
          </a:solidFill>
          <a:ln>
            <a:noFill/>
          </a:ln>
        </p:spPr>
      </p:sp>
      <p:sp>
        <p:nvSpPr>
          <p:cNvPr id="19" name="iconfont-10459-4813181"/>
          <p:cNvSpPr>
            <a:spLocks noChangeAspect="1"/>
          </p:cNvSpPr>
          <p:nvPr/>
        </p:nvSpPr>
        <p:spPr bwMode="auto">
          <a:xfrm>
            <a:off x="2864696" y="3215149"/>
            <a:ext cx="609685" cy="597919"/>
          </a:xfrm>
          <a:custGeom>
            <a:avLst/>
            <a:gdLst>
              <a:gd name="T0" fmla="*/ 8480 w 11552"/>
              <a:gd name="T1" fmla="*/ 5776 h 11328"/>
              <a:gd name="T2" fmla="*/ 7632 w 11552"/>
              <a:gd name="T3" fmla="*/ 0 h 11328"/>
              <a:gd name="T4" fmla="*/ 0 w 11552"/>
              <a:gd name="T5" fmla="*/ 848 h 11328"/>
              <a:gd name="T6" fmla="*/ 848 w 11552"/>
              <a:gd name="T7" fmla="*/ 11328 h 11328"/>
              <a:gd name="T8" fmla="*/ 6032 w 11552"/>
              <a:gd name="T9" fmla="*/ 6656 h 11328"/>
              <a:gd name="T10" fmla="*/ 2048 w 11552"/>
              <a:gd name="T11" fmla="*/ 1392 h 11328"/>
              <a:gd name="T12" fmla="*/ 7152 w 11552"/>
              <a:gd name="T13" fmla="*/ 2096 h 11328"/>
              <a:gd name="T14" fmla="*/ 2048 w 11552"/>
              <a:gd name="T15" fmla="*/ 2800 h 11328"/>
              <a:gd name="T16" fmla="*/ 2048 w 11552"/>
              <a:gd name="T17" fmla="*/ 1392 h 11328"/>
              <a:gd name="T18" fmla="*/ 2048 w 11552"/>
              <a:gd name="T19" fmla="*/ 3552 h 11328"/>
              <a:gd name="T20" fmla="*/ 7152 w 11552"/>
              <a:gd name="T21" fmla="*/ 4256 h 11328"/>
              <a:gd name="T22" fmla="*/ 2048 w 11552"/>
              <a:gd name="T23" fmla="*/ 4960 h 11328"/>
              <a:gd name="T24" fmla="*/ 4240 w 11552"/>
              <a:gd name="T25" fmla="*/ 8160 h 11328"/>
              <a:gd name="T26" fmla="*/ 4240 w 11552"/>
              <a:gd name="T27" fmla="*/ 6080 h 11328"/>
              <a:gd name="T28" fmla="*/ 4240 w 11552"/>
              <a:gd name="T29" fmla="*/ 8160 h 11328"/>
              <a:gd name="T30" fmla="*/ 6512 w 11552"/>
              <a:gd name="T31" fmla="*/ 9088 h 11328"/>
              <a:gd name="T32" fmla="*/ 7632 w 11552"/>
              <a:gd name="T33" fmla="*/ 10768 h 11328"/>
              <a:gd name="T34" fmla="*/ 7632 w 11552"/>
              <a:gd name="T35" fmla="*/ 8528 h 11328"/>
              <a:gd name="T36" fmla="*/ 9552 w 11552"/>
              <a:gd name="T37" fmla="*/ 8400 h 11328"/>
              <a:gd name="T38" fmla="*/ 9168 w 11552"/>
              <a:gd name="T39" fmla="*/ 7824 h 11328"/>
              <a:gd name="T40" fmla="*/ 8976 w 11552"/>
              <a:gd name="T41" fmla="*/ 8208 h 11328"/>
              <a:gd name="T42" fmla="*/ 8896 w 11552"/>
              <a:gd name="T43" fmla="*/ 9264 h 11328"/>
              <a:gd name="T44" fmla="*/ 9104 w 11552"/>
              <a:gd name="T45" fmla="*/ 9632 h 11328"/>
              <a:gd name="T46" fmla="*/ 9552 w 11552"/>
              <a:gd name="T47" fmla="*/ 8400 h 11328"/>
              <a:gd name="T48" fmla="*/ 10480 w 11552"/>
              <a:gd name="T49" fmla="*/ 8128 h 11328"/>
              <a:gd name="T50" fmla="*/ 9824 w 11552"/>
              <a:gd name="T51" fmla="*/ 7216 h 11328"/>
              <a:gd name="T52" fmla="*/ 9664 w 11552"/>
              <a:gd name="T53" fmla="*/ 7632 h 11328"/>
              <a:gd name="T54" fmla="*/ 9520 w 11552"/>
              <a:gd name="T55" fmla="*/ 9888 h 11328"/>
              <a:gd name="T56" fmla="*/ 9696 w 11552"/>
              <a:gd name="T57" fmla="*/ 10288 h 11328"/>
              <a:gd name="T58" fmla="*/ 10496 w 11552"/>
              <a:gd name="T59" fmla="*/ 9072 h 11328"/>
              <a:gd name="T60" fmla="*/ 10768 w 11552"/>
              <a:gd name="T61" fmla="*/ 6688 h 11328"/>
              <a:gd name="T62" fmla="*/ 10336 w 11552"/>
              <a:gd name="T63" fmla="*/ 6832 h 11328"/>
              <a:gd name="T64" fmla="*/ 10896 w 11552"/>
              <a:gd name="T65" fmla="*/ 9520 h 11328"/>
              <a:gd name="T66" fmla="*/ 10128 w 11552"/>
              <a:gd name="T67" fmla="*/ 10784 h 11328"/>
              <a:gd name="T68" fmla="*/ 10528 w 11552"/>
              <a:gd name="T69" fmla="*/ 10960 h 11328"/>
              <a:gd name="T70" fmla="*/ 11504 w 11552"/>
              <a:gd name="T71" fmla="*/ 8336 h 1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2" h="11328">
                <a:moveTo>
                  <a:pt x="6928" y="5776"/>
                </a:moveTo>
                <a:lnTo>
                  <a:pt x="8480" y="5776"/>
                </a:lnTo>
                <a:lnTo>
                  <a:pt x="8480" y="848"/>
                </a:lnTo>
                <a:cubicBezTo>
                  <a:pt x="8480" y="384"/>
                  <a:pt x="8096" y="0"/>
                  <a:pt x="7632" y="0"/>
                </a:cubicBezTo>
                <a:lnTo>
                  <a:pt x="864" y="0"/>
                </a:lnTo>
                <a:cubicBezTo>
                  <a:pt x="384" y="0"/>
                  <a:pt x="0" y="384"/>
                  <a:pt x="0" y="848"/>
                </a:cubicBezTo>
                <a:lnTo>
                  <a:pt x="0" y="10480"/>
                </a:lnTo>
                <a:cubicBezTo>
                  <a:pt x="0" y="10944"/>
                  <a:pt x="384" y="11328"/>
                  <a:pt x="848" y="11328"/>
                </a:cubicBezTo>
                <a:lnTo>
                  <a:pt x="6032" y="11328"/>
                </a:lnTo>
                <a:lnTo>
                  <a:pt x="6032" y="6656"/>
                </a:lnTo>
                <a:cubicBezTo>
                  <a:pt x="6048" y="6176"/>
                  <a:pt x="6448" y="5776"/>
                  <a:pt x="6928" y="5776"/>
                </a:cubicBezTo>
                <a:close/>
                <a:moveTo>
                  <a:pt x="2048" y="1392"/>
                </a:moveTo>
                <a:lnTo>
                  <a:pt x="6448" y="1392"/>
                </a:lnTo>
                <a:cubicBezTo>
                  <a:pt x="6832" y="1392"/>
                  <a:pt x="7152" y="1712"/>
                  <a:pt x="7152" y="2096"/>
                </a:cubicBezTo>
                <a:cubicBezTo>
                  <a:pt x="7152" y="2480"/>
                  <a:pt x="6832" y="2800"/>
                  <a:pt x="6448" y="2800"/>
                </a:cubicBezTo>
                <a:lnTo>
                  <a:pt x="2048" y="2800"/>
                </a:lnTo>
                <a:cubicBezTo>
                  <a:pt x="1664" y="2800"/>
                  <a:pt x="1344" y="2480"/>
                  <a:pt x="1344" y="2096"/>
                </a:cubicBezTo>
                <a:cubicBezTo>
                  <a:pt x="1344" y="1712"/>
                  <a:pt x="1664" y="1392"/>
                  <a:pt x="2048" y="1392"/>
                </a:cubicBezTo>
                <a:close/>
                <a:moveTo>
                  <a:pt x="1344" y="4256"/>
                </a:moveTo>
                <a:cubicBezTo>
                  <a:pt x="1344" y="3872"/>
                  <a:pt x="1664" y="3552"/>
                  <a:pt x="2048" y="3552"/>
                </a:cubicBezTo>
                <a:lnTo>
                  <a:pt x="6448" y="3552"/>
                </a:lnTo>
                <a:cubicBezTo>
                  <a:pt x="6832" y="3552"/>
                  <a:pt x="7152" y="3872"/>
                  <a:pt x="7152" y="4256"/>
                </a:cubicBezTo>
                <a:cubicBezTo>
                  <a:pt x="7152" y="4640"/>
                  <a:pt x="6832" y="4960"/>
                  <a:pt x="6448" y="4960"/>
                </a:cubicBezTo>
                <a:lnTo>
                  <a:pt x="2048" y="4960"/>
                </a:lnTo>
                <a:cubicBezTo>
                  <a:pt x="1664" y="4944"/>
                  <a:pt x="1344" y="4624"/>
                  <a:pt x="1344" y="4256"/>
                </a:cubicBezTo>
                <a:close/>
                <a:moveTo>
                  <a:pt x="4240" y="8160"/>
                </a:moveTo>
                <a:cubicBezTo>
                  <a:pt x="3664" y="8160"/>
                  <a:pt x="3200" y="7696"/>
                  <a:pt x="3200" y="7120"/>
                </a:cubicBezTo>
                <a:cubicBezTo>
                  <a:pt x="3200" y="6544"/>
                  <a:pt x="3664" y="6080"/>
                  <a:pt x="4240" y="6080"/>
                </a:cubicBezTo>
                <a:cubicBezTo>
                  <a:pt x="4816" y="6080"/>
                  <a:pt x="5280" y="6544"/>
                  <a:pt x="5280" y="7120"/>
                </a:cubicBezTo>
                <a:cubicBezTo>
                  <a:pt x="5296" y="7696"/>
                  <a:pt x="4832" y="8160"/>
                  <a:pt x="4240" y="8160"/>
                </a:cubicBezTo>
                <a:close/>
                <a:moveTo>
                  <a:pt x="7632" y="6848"/>
                </a:moveTo>
                <a:lnTo>
                  <a:pt x="6512" y="9088"/>
                </a:lnTo>
                <a:lnTo>
                  <a:pt x="7632" y="9088"/>
                </a:lnTo>
                <a:lnTo>
                  <a:pt x="7632" y="10768"/>
                </a:lnTo>
                <a:lnTo>
                  <a:pt x="8752" y="8528"/>
                </a:lnTo>
                <a:lnTo>
                  <a:pt x="7632" y="8528"/>
                </a:lnTo>
                <a:lnTo>
                  <a:pt x="7632" y="6848"/>
                </a:lnTo>
                <a:close/>
                <a:moveTo>
                  <a:pt x="9552" y="8400"/>
                </a:moveTo>
                <a:cubicBezTo>
                  <a:pt x="9504" y="8112"/>
                  <a:pt x="9376" y="7952"/>
                  <a:pt x="9360" y="7920"/>
                </a:cubicBezTo>
                <a:cubicBezTo>
                  <a:pt x="9312" y="7856"/>
                  <a:pt x="9248" y="7824"/>
                  <a:pt x="9168" y="7824"/>
                </a:cubicBezTo>
                <a:cubicBezTo>
                  <a:pt x="9040" y="7824"/>
                  <a:pt x="8928" y="7936"/>
                  <a:pt x="8928" y="8064"/>
                </a:cubicBezTo>
                <a:cubicBezTo>
                  <a:pt x="8928" y="8112"/>
                  <a:pt x="8944" y="8176"/>
                  <a:pt x="8976" y="8208"/>
                </a:cubicBezTo>
                <a:cubicBezTo>
                  <a:pt x="8976" y="8208"/>
                  <a:pt x="9040" y="8304"/>
                  <a:pt x="9072" y="8480"/>
                </a:cubicBezTo>
                <a:cubicBezTo>
                  <a:pt x="9120" y="8736"/>
                  <a:pt x="9056" y="8992"/>
                  <a:pt x="8896" y="9264"/>
                </a:cubicBezTo>
                <a:cubicBezTo>
                  <a:pt x="8880" y="9296"/>
                  <a:pt x="8864" y="9344"/>
                  <a:pt x="8864" y="9392"/>
                </a:cubicBezTo>
                <a:cubicBezTo>
                  <a:pt x="8864" y="9520"/>
                  <a:pt x="8976" y="9632"/>
                  <a:pt x="9104" y="9632"/>
                </a:cubicBezTo>
                <a:cubicBezTo>
                  <a:pt x="9200" y="9632"/>
                  <a:pt x="9264" y="9584"/>
                  <a:pt x="9312" y="9520"/>
                </a:cubicBezTo>
                <a:cubicBezTo>
                  <a:pt x="9584" y="9056"/>
                  <a:pt x="9584" y="8656"/>
                  <a:pt x="9552" y="8400"/>
                </a:cubicBezTo>
                <a:close/>
                <a:moveTo>
                  <a:pt x="10496" y="9072"/>
                </a:moveTo>
                <a:cubicBezTo>
                  <a:pt x="10576" y="8752"/>
                  <a:pt x="10560" y="8432"/>
                  <a:pt x="10480" y="8128"/>
                </a:cubicBezTo>
                <a:cubicBezTo>
                  <a:pt x="10336" y="7600"/>
                  <a:pt x="10000" y="7296"/>
                  <a:pt x="9984" y="7280"/>
                </a:cubicBezTo>
                <a:cubicBezTo>
                  <a:pt x="9936" y="7248"/>
                  <a:pt x="9888" y="7216"/>
                  <a:pt x="9824" y="7216"/>
                </a:cubicBezTo>
                <a:cubicBezTo>
                  <a:pt x="9696" y="7216"/>
                  <a:pt x="9584" y="7328"/>
                  <a:pt x="9584" y="7456"/>
                </a:cubicBezTo>
                <a:cubicBezTo>
                  <a:pt x="9584" y="7520"/>
                  <a:pt x="9616" y="7584"/>
                  <a:pt x="9664" y="7632"/>
                </a:cubicBezTo>
                <a:cubicBezTo>
                  <a:pt x="9664" y="7632"/>
                  <a:pt x="9920" y="7872"/>
                  <a:pt x="10032" y="8272"/>
                </a:cubicBezTo>
                <a:cubicBezTo>
                  <a:pt x="10176" y="8800"/>
                  <a:pt x="10000" y="9344"/>
                  <a:pt x="9520" y="9888"/>
                </a:cubicBezTo>
                <a:cubicBezTo>
                  <a:pt x="9488" y="9936"/>
                  <a:pt x="9456" y="9984"/>
                  <a:pt x="9456" y="10048"/>
                </a:cubicBezTo>
                <a:cubicBezTo>
                  <a:pt x="9456" y="10176"/>
                  <a:pt x="9568" y="10288"/>
                  <a:pt x="9696" y="10288"/>
                </a:cubicBezTo>
                <a:cubicBezTo>
                  <a:pt x="9776" y="10288"/>
                  <a:pt x="9840" y="10256"/>
                  <a:pt x="9888" y="10208"/>
                </a:cubicBezTo>
                <a:cubicBezTo>
                  <a:pt x="10192" y="9840"/>
                  <a:pt x="10400" y="9456"/>
                  <a:pt x="10496" y="9072"/>
                </a:cubicBezTo>
                <a:close/>
                <a:moveTo>
                  <a:pt x="11504" y="8336"/>
                </a:moveTo>
                <a:cubicBezTo>
                  <a:pt x="11424" y="7776"/>
                  <a:pt x="11184" y="7216"/>
                  <a:pt x="10768" y="6688"/>
                </a:cubicBezTo>
                <a:cubicBezTo>
                  <a:pt x="10720" y="6624"/>
                  <a:pt x="10656" y="6592"/>
                  <a:pt x="10576" y="6592"/>
                </a:cubicBezTo>
                <a:cubicBezTo>
                  <a:pt x="10448" y="6592"/>
                  <a:pt x="10336" y="6704"/>
                  <a:pt x="10336" y="6832"/>
                </a:cubicBezTo>
                <a:cubicBezTo>
                  <a:pt x="10336" y="6880"/>
                  <a:pt x="10352" y="6944"/>
                  <a:pt x="10384" y="6976"/>
                </a:cubicBezTo>
                <a:cubicBezTo>
                  <a:pt x="11040" y="7808"/>
                  <a:pt x="11200" y="8656"/>
                  <a:pt x="10896" y="9520"/>
                </a:cubicBezTo>
                <a:cubicBezTo>
                  <a:pt x="10656" y="10176"/>
                  <a:pt x="10208" y="10592"/>
                  <a:pt x="10208" y="10608"/>
                </a:cubicBezTo>
                <a:cubicBezTo>
                  <a:pt x="10160" y="10656"/>
                  <a:pt x="10128" y="10720"/>
                  <a:pt x="10128" y="10784"/>
                </a:cubicBezTo>
                <a:cubicBezTo>
                  <a:pt x="10128" y="10912"/>
                  <a:pt x="10240" y="11024"/>
                  <a:pt x="10368" y="11024"/>
                </a:cubicBezTo>
                <a:cubicBezTo>
                  <a:pt x="10432" y="11024"/>
                  <a:pt x="10496" y="10992"/>
                  <a:pt x="10528" y="10960"/>
                </a:cubicBezTo>
                <a:cubicBezTo>
                  <a:pt x="10544" y="10944"/>
                  <a:pt x="11056" y="10464"/>
                  <a:pt x="11344" y="9712"/>
                </a:cubicBezTo>
                <a:cubicBezTo>
                  <a:pt x="11504" y="9264"/>
                  <a:pt x="11552" y="8800"/>
                  <a:pt x="11504" y="8336"/>
                </a:cubicBezTo>
                <a:close/>
              </a:path>
            </a:pathLst>
          </a:custGeom>
          <a:solidFill>
            <a:schemeClr val="bg1"/>
          </a:solidFill>
          <a:ln>
            <a:noFill/>
          </a:ln>
        </p:spPr>
      </p:sp>
      <p:sp>
        <p:nvSpPr>
          <p:cNvPr id="20" name="iconfont-10043-4933350"/>
          <p:cNvSpPr>
            <a:spLocks noChangeAspect="1"/>
          </p:cNvSpPr>
          <p:nvPr/>
        </p:nvSpPr>
        <p:spPr bwMode="auto">
          <a:xfrm>
            <a:off x="4110087" y="4474469"/>
            <a:ext cx="609685" cy="609685"/>
          </a:xfrm>
          <a:custGeom>
            <a:avLst/>
            <a:gdLst>
              <a:gd name="T0" fmla="*/ 5400 w 10800"/>
              <a:gd name="T1" fmla="*/ 10800 h 10800"/>
              <a:gd name="T2" fmla="*/ 0 w 10800"/>
              <a:gd name="T3" fmla="*/ 5400 h 10800"/>
              <a:gd name="T4" fmla="*/ 5400 w 10800"/>
              <a:gd name="T5" fmla="*/ 0 h 10800"/>
              <a:gd name="T6" fmla="*/ 10800 w 10800"/>
              <a:gd name="T7" fmla="*/ 5400 h 10800"/>
              <a:gd name="T8" fmla="*/ 5400 w 10800"/>
              <a:gd name="T9" fmla="*/ 10800 h 10800"/>
              <a:gd name="T10" fmla="*/ 5400 w 10800"/>
              <a:gd name="T11" fmla="*/ 800 h 10800"/>
              <a:gd name="T12" fmla="*/ 800 w 10800"/>
              <a:gd name="T13" fmla="*/ 5400 h 10800"/>
              <a:gd name="T14" fmla="*/ 5400 w 10800"/>
              <a:gd name="T15" fmla="*/ 10000 h 10800"/>
              <a:gd name="T16" fmla="*/ 10000 w 10800"/>
              <a:gd name="T17" fmla="*/ 5400 h 10800"/>
              <a:gd name="T18" fmla="*/ 5400 w 10800"/>
              <a:gd name="T19" fmla="*/ 800 h 10800"/>
              <a:gd name="T20" fmla="*/ 7400 w 10800"/>
              <a:gd name="T21" fmla="*/ 5880 h 10800"/>
              <a:gd name="T22" fmla="*/ 5800 w 10800"/>
              <a:gd name="T23" fmla="*/ 5880 h 10800"/>
              <a:gd name="T24" fmla="*/ 5800 w 10800"/>
              <a:gd name="T25" fmla="*/ 5080 h 10800"/>
              <a:gd name="T26" fmla="*/ 7400 w 10800"/>
              <a:gd name="T27" fmla="*/ 5080 h 10800"/>
              <a:gd name="T28" fmla="*/ 7800 w 10800"/>
              <a:gd name="T29" fmla="*/ 4680 h 10800"/>
              <a:gd name="T30" fmla="*/ 7400 w 10800"/>
              <a:gd name="T31" fmla="*/ 4280 h 10800"/>
              <a:gd name="T32" fmla="*/ 6280 w 10800"/>
              <a:gd name="T33" fmla="*/ 4280 h 10800"/>
              <a:gd name="T34" fmla="*/ 7380 w 10800"/>
              <a:gd name="T35" fmla="*/ 3180 h 10800"/>
              <a:gd name="T36" fmla="*/ 7380 w 10800"/>
              <a:gd name="T37" fmla="*/ 2620 h 10800"/>
              <a:gd name="T38" fmla="*/ 6820 w 10800"/>
              <a:gd name="T39" fmla="*/ 2620 h 10800"/>
              <a:gd name="T40" fmla="*/ 5400 w 10800"/>
              <a:gd name="T41" fmla="*/ 4040 h 10800"/>
              <a:gd name="T42" fmla="*/ 3980 w 10800"/>
              <a:gd name="T43" fmla="*/ 2620 h 10800"/>
              <a:gd name="T44" fmla="*/ 3420 w 10800"/>
              <a:gd name="T45" fmla="*/ 2620 h 10800"/>
              <a:gd name="T46" fmla="*/ 3420 w 10800"/>
              <a:gd name="T47" fmla="*/ 3180 h 10800"/>
              <a:gd name="T48" fmla="*/ 4520 w 10800"/>
              <a:gd name="T49" fmla="*/ 4280 h 10800"/>
              <a:gd name="T50" fmla="*/ 3400 w 10800"/>
              <a:gd name="T51" fmla="*/ 4280 h 10800"/>
              <a:gd name="T52" fmla="*/ 3000 w 10800"/>
              <a:gd name="T53" fmla="*/ 4680 h 10800"/>
              <a:gd name="T54" fmla="*/ 3400 w 10800"/>
              <a:gd name="T55" fmla="*/ 5080 h 10800"/>
              <a:gd name="T56" fmla="*/ 5000 w 10800"/>
              <a:gd name="T57" fmla="*/ 5080 h 10800"/>
              <a:gd name="T58" fmla="*/ 5000 w 10800"/>
              <a:gd name="T59" fmla="*/ 5880 h 10800"/>
              <a:gd name="T60" fmla="*/ 3400 w 10800"/>
              <a:gd name="T61" fmla="*/ 5880 h 10800"/>
              <a:gd name="T62" fmla="*/ 3000 w 10800"/>
              <a:gd name="T63" fmla="*/ 6280 h 10800"/>
              <a:gd name="T64" fmla="*/ 3400 w 10800"/>
              <a:gd name="T65" fmla="*/ 6680 h 10800"/>
              <a:gd name="T66" fmla="*/ 5000 w 10800"/>
              <a:gd name="T67" fmla="*/ 6680 h 10800"/>
              <a:gd name="T68" fmla="*/ 5000 w 10800"/>
              <a:gd name="T69" fmla="*/ 8280 h 10800"/>
              <a:gd name="T70" fmla="*/ 5400 w 10800"/>
              <a:gd name="T71" fmla="*/ 8680 h 10800"/>
              <a:gd name="T72" fmla="*/ 5800 w 10800"/>
              <a:gd name="T73" fmla="*/ 8280 h 10800"/>
              <a:gd name="T74" fmla="*/ 5800 w 10800"/>
              <a:gd name="T75" fmla="*/ 6680 h 10800"/>
              <a:gd name="T76" fmla="*/ 7400 w 10800"/>
              <a:gd name="T77" fmla="*/ 6680 h 10800"/>
              <a:gd name="T78" fmla="*/ 7800 w 10800"/>
              <a:gd name="T79" fmla="*/ 6280 h 10800"/>
              <a:gd name="T80" fmla="*/ 7400 w 10800"/>
              <a:gd name="T81" fmla="*/ 5880 h 10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00" h="10800">
                <a:moveTo>
                  <a:pt x="5400" y="10800"/>
                </a:moveTo>
                <a:cubicBezTo>
                  <a:pt x="2420" y="10800"/>
                  <a:pt x="0" y="8380"/>
                  <a:pt x="0" y="5400"/>
                </a:cubicBezTo>
                <a:cubicBezTo>
                  <a:pt x="0" y="2420"/>
                  <a:pt x="2420" y="0"/>
                  <a:pt x="5400" y="0"/>
                </a:cubicBezTo>
                <a:cubicBezTo>
                  <a:pt x="8380" y="0"/>
                  <a:pt x="10800" y="2420"/>
                  <a:pt x="10800" y="5400"/>
                </a:cubicBezTo>
                <a:cubicBezTo>
                  <a:pt x="10800" y="8380"/>
                  <a:pt x="8380" y="10800"/>
                  <a:pt x="5400" y="10800"/>
                </a:cubicBezTo>
                <a:close/>
                <a:moveTo>
                  <a:pt x="5400" y="800"/>
                </a:moveTo>
                <a:cubicBezTo>
                  <a:pt x="2860" y="800"/>
                  <a:pt x="800" y="2860"/>
                  <a:pt x="800" y="5400"/>
                </a:cubicBezTo>
                <a:cubicBezTo>
                  <a:pt x="800" y="7940"/>
                  <a:pt x="2860" y="10000"/>
                  <a:pt x="5400" y="10000"/>
                </a:cubicBezTo>
                <a:cubicBezTo>
                  <a:pt x="7940" y="10000"/>
                  <a:pt x="10000" y="7940"/>
                  <a:pt x="10000" y="5400"/>
                </a:cubicBezTo>
                <a:cubicBezTo>
                  <a:pt x="10000" y="2860"/>
                  <a:pt x="7940" y="800"/>
                  <a:pt x="5400" y="800"/>
                </a:cubicBezTo>
                <a:close/>
                <a:moveTo>
                  <a:pt x="7400" y="5880"/>
                </a:moveTo>
                <a:lnTo>
                  <a:pt x="5800" y="5880"/>
                </a:lnTo>
                <a:lnTo>
                  <a:pt x="5800" y="5080"/>
                </a:lnTo>
                <a:lnTo>
                  <a:pt x="7400" y="5080"/>
                </a:lnTo>
                <a:cubicBezTo>
                  <a:pt x="7620" y="5080"/>
                  <a:pt x="7800" y="4900"/>
                  <a:pt x="7800" y="4680"/>
                </a:cubicBezTo>
                <a:cubicBezTo>
                  <a:pt x="7800" y="4460"/>
                  <a:pt x="7620" y="4280"/>
                  <a:pt x="7400" y="4280"/>
                </a:cubicBezTo>
                <a:lnTo>
                  <a:pt x="6280" y="4280"/>
                </a:lnTo>
                <a:lnTo>
                  <a:pt x="7380" y="3180"/>
                </a:lnTo>
                <a:cubicBezTo>
                  <a:pt x="7540" y="3020"/>
                  <a:pt x="7540" y="2780"/>
                  <a:pt x="7380" y="2620"/>
                </a:cubicBezTo>
                <a:cubicBezTo>
                  <a:pt x="7220" y="2460"/>
                  <a:pt x="6980" y="2460"/>
                  <a:pt x="6820" y="2620"/>
                </a:cubicBezTo>
                <a:lnTo>
                  <a:pt x="5400" y="4040"/>
                </a:lnTo>
                <a:lnTo>
                  <a:pt x="3980" y="2620"/>
                </a:lnTo>
                <a:cubicBezTo>
                  <a:pt x="3820" y="2460"/>
                  <a:pt x="3580" y="2460"/>
                  <a:pt x="3420" y="2620"/>
                </a:cubicBezTo>
                <a:cubicBezTo>
                  <a:pt x="3260" y="2780"/>
                  <a:pt x="3260" y="3020"/>
                  <a:pt x="3420" y="3180"/>
                </a:cubicBezTo>
                <a:lnTo>
                  <a:pt x="4520" y="4280"/>
                </a:lnTo>
                <a:lnTo>
                  <a:pt x="3400" y="4280"/>
                </a:lnTo>
                <a:cubicBezTo>
                  <a:pt x="3180" y="4280"/>
                  <a:pt x="3000" y="4460"/>
                  <a:pt x="3000" y="4680"/>
                </a:cubicBezTo>
                <a:cubicBezTo>
                  <a:pt x="3000" y="4900"/>
                  <a:pt x="3180" y="5080"/>
                  <a:pt x="3400" y="5080"/>
                </a:cubicBezTo>
                <a:lnTo>
                  <a:pt x="5000" y="5080"/>
                </a:lnTo>
                <a:lnTo>
                  <a:pt x="5000" y="5880"/>
                </a:lnTo>
                <a:lnTo>
                  <a:pt x="3400" y="5880"/>
                </a:lnTo>
                <a:cubicBezTo>
                  <a:pt x="3180" y="5880"/>
                  <a:pt x="3000" y="6060"/>
                  <a:pt x="3000" y="6280"/>
                </a:cubicBezTo>
                <a:cubicBezTo>
                  <a:pt x="3000" y="6500"/>
                  <a:pt x="3180" y="6680"/>
                  <a:pt x="3400" y="6680"/>
                </a:cubicBezTo>
                <a:lnTo>
                  <a:pt x="5000" y="6680"/>
                </a:lnTo>
                <a:lnTo>
                  <a:pt x="5000" y="8280"/>
                </a:lnTo>
                <a:cubicBezTo>
                  <a:pt x="5000" y="8500"/>
                  <a:pt x="5180" y="8680"/>
                  <a:pt x="5400" y="8680"/>
                </a:cubicBezTo>
                <a:cubicBezTo>
                  <a:pt x="5620" y="8680"/>
                  <a:pt x="5800" y="8500"/>
                  <a:pt x="5800" y="8280"/>
                </a:cubicBezTo>
                <a:lnTo>
                  <a:pt x="5800" y="6680"/>
                </a:lnTo>
                <a:lnTo>
                  <a:pt x="7400" y="6680"/>
                </a:lnTo>
                <a:cubicBezTo>
                  <a:pt x="7620" y="6680"/>
                  <a:pt x="7800" y="6500"/>
                  <a:pt x="7800" y="6280"/>
                </a:cubicBezTo>
                <a:cubicBezTo>
                  <a:pt x="7800" y="6060"/>
                  <a:pt x="7620" y="5880"/>
                  <a:pt x="7400" y="5880"/>
                </a:cubicBezTo>
                <a:close/>
              </a:path>
            </a:pathLst>
          </a:custGeom>
          <a:solidFill>
            <a:schemeClr val="bg1"/>
          </a:solidFill>
          <a:ln>
            <a:noFill/>
          </a:ln>
        </p:spPr>
      </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9" name="矩形 8"/>
          <p:cNvSpPr/>
          <p:nvPr/>
        </p:nvSpPr>
        <p:spPr>
          <a:xfrm>
            <a:off x="494030" y="1210945"/>
            <a:ext cx="723900" cy="26301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概念</a:t>
            </a:r>
            <a:r>
              <a:rPr lang="zh-CN" altLang="en-US" sz="3200">
                <a:solidFill>
                  <a:schemeClr val="tx1">
                    <a:lumMod val="75000"/>
                    <a:lumOff val="25000"/>
                  </a:schemeClr>
                </a:solidFill>
                <a:latin typeface="站酷快乐体" panose="02010600030101010101" charset="-128"/>
                <a:ea typeface="站酷快乐体" panose="02010600030101010101" charset="-128"/>
              </a:rPr>
              <a:t>结构设计</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10" name="图片 9"/>
          <p:cNvPicPr>
            <a:picLocks noChangeAspect="1"/>
          </p:cNvPicPr>
          <p:nvPr/>
        </p:nvPicPr>
        <p:blipFill>
          <a:blip r:embed="rId1"/>
          <a:stretch>
            <a:fillRect/>
          </a:stretch>
        </p:blipFill>
        <p:spPr>
          <a:xfrm>
            <a:off x="1414145" y="2185035"/>
            <a:ext cx="10219690" cy="2209165"/>
          </a:xfrm>
          <a:prstGeom prst="rect">
            <a:avLst/>
          </a:prstGeom>
        </p:spPr>
      </p:pic>
      <p:grpSp>
        <p:nvGrpSpPr>
          <p:cNvPr id="30" name="组合 29"/>
          <p:cNvGrpSpPr/>
          <p:nvPr/>
        </p:nvGrpSpPr>
        <p:grpSpPr>
          <a:xfrm rot="0">
            <a:off x="10085705" y="4394200"/>
            <a:ext cx="2094230" cy="2094230"/>
            <a:chOff x="14983" y="6226"/>
            <a:chExt cx="3099" cy="3099"/>
          </a:xfrm>
        </p:grpSpPr>
        <p:sp>
          <p:nvSpPr>
            <p:cNvPr id="38" name="Right Triangle 37"/>
            <p:cNvSpPr/>
            <p:nvPr/>
          </p:nvSpPr>
          <p:spPr>
            <a:xfrm flipH="1">
              <a:off x="14983" y="6226"/>
              <a:ext cx="3099" cy="3099"/>
            </a:xfrm>
            <a:prstGeom prst="rtTriangle">
              <a:avLst/>
            </a:prstGeom>
            <a:solidFill>
              <a:srgbClr val="FFD4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41" name="AutoShape 135"/>
            <p:cNvSpPr/>
            <p:nvPr/>
          </p:nvSpPr>
          <p:spPr bwMode="auto">
            <a:xfrm rot="10800000">
              <a:off x="16756" y="8100"/>
              <a:ext cx="733" cy="731"/>
            </a:xfrm>
            <a:custGeom>
              <a:avLst/>
              <a:gdLst>
                <a:gd name="connsiteX0" fmla="*/ 0 w 609473"/>
                <a:gd name="connsiteY0" fmla="*/ 164276 h 608485"/>
                <a:gd name="connsiteX1" fmla="*/ 609473 w 609473"/>
                <a:gd name="connsiteY1" fmla="*/ 164276 h 608485"/>
                <a:gd name="connsiteX2" fmla="*/ 609473 w 609473"/>
                <a:gd name="connsiteY2" fmla="*/ 608485 h 608485"/>
                <a:gd name="connsiteX3" fmla="*/ 0 w 609473"/>
                <a:gd name="connsiteY3" fmla="*/ 608485 h 608485"/>
                <a:gd name="connsiteX4" fmla="*/ 76846 w 609473"/>
                <a:gd name="connsiteY4" fmla="*/ 88983 h 608485"/>
                <a:gd name="connsiteX5" fmla="*/ 532557 w 609473"/>
                <a:gd name="connsiteY5" fmla="*/ 88983 h 608485"/>
                <a:gd name="connsiteX6" fmla="*/ 532557 w 609473"/>
                <a:gd name="connsiteY6" fmla="*/ 113257 h 608485"/>
                <a:gd name="connsiteX7" fmla="*/ 76846 w 609473"/>
                <a:gd name="connsiteY7" fmla="*/ 113257 h 608485"/>
                <a:gd name="connsiteX8" fmla="*/ 139931 w 609473"/>
                <a:gd name="connsiteY8" fmla="*/ 0 h 608485"/>
                <a:gd name="connsiteX9" fmla="*/ 469542 w 609473"/>
                <a:gd name="connsiteY9" fmla="*/ 0 h 608485"/>
                <a:gd name="connsiteX10" fmla="*/ 469542 w 609473"/>
                <a:gd name="connsiteY10" fmla="*/ 24345 h 608485"/>
                <a:gd name="connsiteX11" fmla="*/ 139931 w 609473"/>
                <a:gd name="connsiteY11" fmla="*/ 24345 h 60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473" h="608485">
                  <a:moveTo>
                    <a:pt x="0" y="164276"/>
                  </a:moveTo>
                  <a:lnTo>
                    <a:pt x="609473" y="164276"/>
                  </a:lnTo>
                  <a:lnTo>
                    <a:pt x="609473" y="608485"/>
                  </a:lnTo>
                  <a:lnTo>
                    <a:pt x="0" y="608485"/>
                  </a:lnTo>
                  <a:close/>
                  <a:moveTo>
                    <a:pt x="76846" y="88983"/>
                  </a:moveTo>
                  <a:lnTo>
                    <a:pt x="532557" y="88983"/>
                  </a:lnTo>
                  <a:lnTo>
                    <a:pt x="532557" y="113257"/>
                  </a:lnTo>
                  <a:lnTo>
                    <a:pt x="76846" y="113257"/>
                  </a:lnTo>
                  <a:close/>
                  <a:moveTo>
                    <a:pt x="139931" y="0"/>
                  </a:moveTo>
                  <a:lnTo>
                    <a:pt x="469542" y="0"/>
                  </a:lnTo>
                  <a:lnTo>
                    <a:pt x="469542" y="24345"/>
                  </a:lnTo>
                  <a:lnTo>
                    <a:pt x="139931" y="24345"/>
                  </a:lnTo>
                  <a:close/>
                </a:path>
              </a:pathLst>
            </a:custGeom>
            <a:solidFill>
              <a:schemeClr val="bg1"/>
            </a:solidFill>
            <a:ln>
              <a:noFill/>
            </a:ln>
            <a:effectLst/>
          </p:spPr>
          <p:txBody>
            <a:bodyPr lIns="19050" tIns="19050" rIns="19050" bIns="1905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gr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en-US" altLang="zh-CN" sz="3200">
                <a:solidFill>
                  <a:schemeClr val="tx1">
                    <a:lumMod val="75000"/>
                    <a:lumOff val="25000"/>
                  </a:schemeClr>
                </a:solidFill>
                <a:latin typeface="站酷快乐体" panose="02010600030101010101" charset="-128"/>
                <a:ea typeface="站酷快乐体" panose="02010600030101010101" charset="-128"/>
              </a:rPr>
              <a:t>ER</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9" name="矩形 38"/>
          <p:cNvSpPr/>
          <p:nvPr/>
        </p:nvSpPr>
        <p:spPr>
          <a:xfrm>
            <a:off x="494030" y="1210945"/>
            <a:ext cx="533400" cy="47174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逻辑结构设计</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a:p>
            <a:pPr algn="ctr"/>
            <a:r>
              <a:rPr lang="en-US" altLang="zh-CN" sz="3200">
                <a:solidFill>
                  <a:schemeClr val="tx1">
                    <a:lumMod val="75000"/>
                    <a:lumOff val="25000"/>
                  </a:schemeClr>
                </a:solidFill>
                <a:latin typeface="站酷快乐体" panose="02010600030101010101" charset="-128"/>
                <a:ea typeface="站酷快乐体" panose="02010600030101010101" charset="-128"/>
              </a:rPr>
              <a:t>|</a:t>
            </a:r>
            <a:endParaRPr lang="en-US" altLang="zh-CN" sz="3200">
              <a:solidFill>
                <a:schemeClr val="tx1">
                  <a:lumMod val="75000"/>
                  <a:lumOff val="25000"/>
                </a:schemeClr>
              </a:solidFill>
              <a:latin typeface="站酷快乐体" panose="02010600030101010101" charset="-128"/>
              <a:ea typeface="站酷快乐体" panose="02010600030101010101" charset="-128"/>
            </a:endParaRPr>
          </a:p>
          <a:p>
            <a:pPr algn="l"/>
            <a:r>
              <a:rPr lang="en-US" altLang="zh-CN" sz="3200">
                <a:solidFill>
                  <a:schemeClr val="tx1">
                    <a:lumMod val="75000"/>
                    <a:lumOff val="25000"/>
                  </a:schemeClr>
                </a:solidFill>
                <a:latin typeface="站酷快乐体" panose="02010600030101010101" charset="-128"/>
                <a:ea typeface="站酷快乐体" panose="02010600030101010101" charset="-128"/>
              </a:rPr>
              <a:t>ER</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40" name="图片 39" descr="系统数据流动ER图"/>
          <p:cNvPicPr>
            <a:picLocks noChangeAspect="1"/>
          </p:cNvPicPr>
          <p:nvPr/>
        </p:nvPicPr>
        <p:blipFill>
          <a:blip r:embed="rId1"/>
          <a:stretch>
            <a:fillRect/>
          </a:stretch>
        </p:blipFill>
        <p:spPr>
          <a:xfrm>
            <a:off x="1919605" y="457200"/>
            <a:ext cx="8353425" cy="59436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9" name="矩形 8"/>
          <p:cNvSpPr/>
          <p:nvPr/>
        </p:nvSpPr>
        <p:spPr>
          <a:xfrm>
            <a:off x="494030" y="1210945"/>
            <a:ext cx="723900" cy="26301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物理</a:t>
            </a:r>
            <a:r>
              <a:rPr lang="zh-CN" altLang="en-US" sz="3200">
                <a:solidFill>
                  <a:schemeClr val="tx1">
                    <a:lumMod val="75000"/>
                    <a:lumOff val="25000"/>
                  </a:schemeClr>
                </a:solidFill>
                <a:latin typeface="站酷快乐体" panose="02010600030101010101" charset="-128"/>
                <a:ea typeface="站酷快乐体" panose="02010600030101010101" charset="-128"/>
              </a:rPr>
              <a:t>结构设计</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grpSp>
        <p:nvGrpSpPr>
          <p:cNvPr id="30" name="组合 29"/>
          <p:cNvGrpSpPr/>
          <p:nvPr/>
        </p:nvGrpSpPr>
        <p:grpSpPr>
          <a:xfrm rot="0">
            <a:off x="10085705" y="4394200"/>
            <a:ext cx="2094230" cy="2094230"/>
            <a:chOff x="14983" y="6226"/>
            <a:chExt cx="3099" cy="3099"/>
          </a:xfrm>
        </p:grpSpPr>
        <p:sp>
          <p:nvSpPr>
            <p:cNvPr id="38" name="Right Triangle 37"/>
            <p:cNvSpPr/>
            <p:nvPr/>
          </p:nvSpPr>
          <p:spPr>
            <a:xfrm flipH="1">
              <a:off x="14983" y="6226"/>
              <a:ext cx="3099" cy="3099"/>
            </a:xfrm>
            <a:prstGeom prst="rtTriangle">
              <a:avLst/>
            </a:prstGeom>
            <a:solidFill>
              <a:srgbClr val="FFD4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41" name="AutoShape 135"/>
            <p:cNvSpPr/>
            <p:nvPr/>
          </p:nvSpPr>
          <p:spPr bwMode="auto">
            <a:xfrm rot="10800000">
              <a:off x="16756" y="8100"/>
              <a:ext cx="733" cy="731"/>
            </a:xfrm>
            <a:custGeom>
              <a:avLst/>
              <a:gdLst>
                <a:gd name="connsiteX0" fmla="*/ 0 w 609473"/>
                <a:gd name="connsiteY0" fmla="*/ 164276 h 608485"/>
                <a:gd name="connsiteX1" fmla="*/ 609473 w 609473"/>
                <a:gd name="connsiteY1" fmla="*/ 164276 h 608485"/>
                <a:gd name="connsiteX2" fmla="*/ 609473 w 609473"/>
                <a:gd name="connsiteY2" fmla="*/ 608485 h 608485"/>
                <a:gd name="connsiteX3" fmla="*/ 0 w 609473"/>
                <a:gd name="connsiteY3" fmla="*/ 608485 h 608485"/>
                <a:gd name="connsiteX4" fmla="*/ 76846 w 609473"/>
                <a:gd name="connsiteY4" fmla="*/ 88983 h 608485"/>
                <a:gd name="connsiteX5" fmla="*/ 532557 w 609473"/>
                <a:gd name="connsiteY5" fmla="*/ 88983 h 608485"/>
                <a:gd name="connsiteX6" fmla="*/ 532557 w 609473"/>
                <a:gd name="connsiteY6" fmla="*/ 113257 h 608485"/>
                <a:gd name="connsiteX7" fmla="*/ 76846 w 609473"/>
                <a:gd name="connsiteY7" fmla="*/ 113257 h 608485"/>
                <a:gd name="connsiteX8" fmla="*/ 139931 w 609473"/>
                <a:gd name="connsiteY8" fmla="*/ 0 h 608485"/>
                <a:gd name="connsiteX9" fmla="*/ 469542 w 609473"/>
                <a:gd name="connsiteY9" fmla="*/ 0 h 608485"/>
                <a:gd name="connsiteX10" fmla="*/ 469542 w 609473"/>
                <a:gd name="connsiteY10" fmla="*/ 24345 h 608485"/>
                <a:gd name="connsiteX11" fmla="*/ 139931 w 609473"/>
                <a:gd name="connsiteY11" fmla="*/ 24345 h 60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473" h="608485">
                  <a:moveTo>
                    <a:pt x="0" y="164276"/>
                  </a:moveTo>
                  <a:lnTo>
                    <a:pt x="609473" y="164276"/>
                  </a:lnTo>
                  <a:lnTo>
                    <a:pt x="609473" y="608485"/>
                  </a:lnTo>
                  <a:lnTo>
                    <a:pt x="0" y="608485"/>
                  </a:lnTo>
                  <a:close/>
                  <a:moveTo>
                    <a:pt x="76846" y="88983"/>
                  </a:moveTo>
                  <a:lnTo>
                    <a:pt x="532557" y="88983"/>
                  </a:lnTo>
                  <a:lnTo>
                    <a:pt x="532557" y="113257"/>
                  </a:lnTo>
                  <a:lnTo>
                    <a:pt x="76846" y="113257"/>
                  </a:lnTo>
                  <a:close/>
                  <a:moveTo>
                    <a:pt x="139931" y="0"/>
                  </a:moveTo>
                  <a:lnTo>
                    <a:pt x="469542" y="0"/>
                  </a:lnTo>
                  <a:lnTo>
                    <a:pt x="469542" y="24345"/>
                  </a:lnTo>
                  <a:lnTo>
                    <a:pt x="139931" y="24345"/>
                  </a:lnTo>
                  <a:close/>
                </a:path>
              </a:pathLst>
            </a:custGeom>
            <a:solidFill>
              <a:schemeClr val="bg1"/>
            </a:solidFill>
            <a:ln>
              <a:noFill/>
            </a:ln>
            <a:effectLst/>
          </p:spPr>
          <p:txBody>
            <a:bodyPr lIns="19050" tIns="19050" rIns="19050" bIns="1905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grpSp>
      <p:pic>
        <p:nvPicPr>
          <p:cNvPr id="2" name="图片 1" descr="物理"/>
          <p:cNvPicPr>
            <a:picLocks noChangeAspect="1"/>
          </p:cNvPicPr>
          <p:nvPr/>
        </p:nvPicPr>
        <p:blipFill>
          <a:blip r:embed="rId1"/>
          <a:stretch>
            <a:fillRect/>
          </a:stretch>
        </p:blipFill>
        <p:spPr>
          <a:xfrm>
            <a:off x="1993900" y="323215"/>
            <a:ext cx="7950200" cy="601916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矩形 45"/>
          <p:cNvSpPr/>
          <p:nvPr/>
        </p:nvSpPr>
        <p:spPr>
          <a:xfrm>
            <a:off x="214685" y="259778"/>
            <a:ext cx="11762630" cy="6338444"/>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0"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思源黑体" panose="020B0400000000000000" pitchFamily="34" charset="-122"/>
              <a:ea typeface="思源黑体" panose="020B0400000000000000" pitchFamily="34" charset="-122"/>
              <a:cs typeface="+mj-cs"/>
              <a:sym typeface="思源黑体" panose="020B0400000000000000" pitchFamily="34" charset="-122"/>
            </a:endParaRPr>
          </a:p>
        </p:txBody>
      </p:sp>
      <p:sp>
        <p:nvSpPr>
          <p:cNvPr id="15" name="矩形 14"/>
          <p:cNvSpPr/>
          <p:nvPr/>
        </p:nvSpPr>
        <p:spPr>
          <a:xfrm>
            <a:off x="1489075" y="786765"/>
            <a:ext cx="10123805" cy="52838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7" name="矩形 6"/>
          <p:cNvSpPr/>
          <p:nvPr/>
        </p:nvSpPr>
        <p:spPr>
          <a:xfrm>
            <a:off x="214685" y="259778"/>
            <a:ext cx="732828" cy="7328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9" name="矩形 18"/>
          <p:cNvSpPr/>
          <p:nvPr/>
        </p:nvSpPr>
        <p:spPr>
          <a:xfrm>
            <a:off x="671830" y="854710"/>
            <a:ext cx="625475" cy="4030980"/>
          </a:xfrm>
          <a:prstGeom prst="rect">
            <a:avLst/>
          </a:prstGeom>
        </p:spPr>
        <p:txBody>
          <a:bodyPr wrap="square">
            <a:spAutoFit/>
          </a:bodyPr>
          <a:lstStyle/>
          <a:p>
            <a:pPr>
              <a:lnSpc>
                <a:spcPct val="80000"/>
              </a:lnSpc>
            </a:pPr>
            <a:r>
              <a:rPr lang="en-US" altLang="zh-CN" sz="4000" b="1" dirty="0">
                <a:solidFill>
                  <a:schemeClr val="accent4"/>
                </a:solidFill>
                <a:latin typeface="思源黑体" panose="020B0400000000000000" pitchFamily="34" charset="-122"/>
                <a:ea typeface="思源黑体" panose="020B0400000000000000" pitchFamily="34" charset="-122"/>
                <a:sym typeface="思源黑体" panose="020B0400000000000000" pitchFamily="34" charset="-122"/>
              </a:rPr>
              <a:t>CONTENTS</a:t>
            </a:r>
            <a:endParaRPr lang="en-US" altLang="zh-CN" sz="4000" b="1" dirty="0">
              <a:solidFill>
                <a:schemeClr val="accent4"/>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4" name="组合 3"/>
          <p:cNvGrpSpPr/>
          <p:nvPr/>
        </p:nvGrpSpPr>
        <p:grpSpPr>
          <a:xfrm>
            <a:off x="6247130" y="1621155"/>
            <a:ext cx="5349240" cy="3526790"/>
            <a:chOff x="10628" y="2393"/>
            <a:chExt cx="8424" cy="5554"/>
          </a:xfrm>
        </p:grpSpPr>
        <p:sp>
          <p:nvSpPr>
            <p:cNvPr id="33" name="矩形 32"/>
            <p:cNvSpPr/>
            <p:nvPr/>
          </p:nvSpPr>
          <p:spPr>
            <a:xfrm>
              <a:off x="11034" y="2393"/>
              <a:ext cx="1377" cy="1016"/>
            </a:xfrm>
            <a:prstGeom prst="rect">
              <a:avLst/>
            </a:prstGeom>
          </p:spPr>
          <p:txBody>
            <a:bodyPr wrap="none">
              <a:spAutoFit/>
            </a:bodyPr>
            <a:lstStyle/>
            <a:p>
              <a:pPr algn="ctr"/>
              <a:r>
                <a:rPr lang="en-US" altLang="zh-CN"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05.</a:t>
              </a:r>
              <a:endParaRPr lang="zh-CN" altLang="en-US"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4" name="矩形 33"/>
            <p:cNvSpPr/>
            <p:nvPr/>
          </p:nvSpPr>
          <p:spPr>
            <a:xfrm>
              <a:off x="12524" y="2539"/>
              <a:ext cx="2208" cy="725"/>
            </a:xfrm>
            <a:prstGeom prst="rect">
              <a:avLst/>
            </a:prstGeom>
          </p:spPr>
          <p:txBody>
            <a:bodyPr wrap="none">
              <a:spAutoFit/>
            </a:bodyPr>
            <a:lstStyle/>
            <a:p>
              <a:pPr algn="l">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运用设计</a:t>
              </a:r>
              <a:endParaRPr lang="zh-CN" altLang="en-US" sz="2400" dirty="0">
                <a:latin typeface="站酷快乐体" panose="02010600030101010101" charset="-128"/>
                <a:ea typeface="站酷快乐体" panose="02010600030101010101" charset="-128"/>
                <a:sym typeface="思源黑体" panose="020B0400000000000000" pitchFamily="34" charset="-122"/>
              </a:endParaRPr>
            </a:p>
          </p:txBody>
        </p:sp>
        <p:sp>
          <p:nvSpPr>
            <p:cNvPr id="35" name="矩形 34"/>
            <p:cNvSpPr/>
            <p:nvPr/>
          </p:nvSpPr>
          <p:spPr>
            <a:xfrm>
              <a:off x="11033" y="3913"/>
              <a:ext cx="1377" cy="1016"/>
            </a:xfrm>
            <a:prstGeom prst="rect">
              <a:avLst/>
            </a:prstGeom>
          </p:spPr>
          <p:txBody>
            <a:bodyPr wrap="none">
              <a:spAutoFit/>
            </a:bodyPr>
            <a:lstStyle/>
            <a:p>
              <a:pPr algn="ctr"/>
              <a:r>
                <a:rPr lang="en-US" altLang="zh-CN"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06.</a:t>
              </a:r>
              <a:endParaRPr lang="zh-CN" altLang="en-US"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6" name="矩形 35"/>
            <p:cNvSpPr/>
            <p:nvPr/>
          </p:nvSpPr>
          <p:spPr>
            <a:xfrm>
              <a:off x="12524" y="4128"/>
              <a:ext cx="6528" cy="725"/>
            </a:xfrm>
            <a:prstGeom prst="rect">
              <a:avLst/>
            </a:prstGeom>
          </p:spPr>
          <p:txBody>
            <a:bodyPr wrap="none">
              <a:spAutoFit/>
            </a:bodyPr>
            <a:lstStyle/>
            <a:p>
              <a:pPr algn="l">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预期开发计划时间和分工安排</a:t>
              </a:r>
              <a:endParaRPr lang="zh-CN" altLang="en-US" sz="2400" dirty="0">
                <a:latin typeface="站酷快乐体" panose="02010600030101010101" charset="-128"/>
                <a:ea typeface="站酷快乐体" panose="02010600030101010101" charset="-128"/>
                <a:sym typeface="思源黑体" panose="020B0400000000000000" pitchFamily="34" charset="-122"/>
              </a:endParaRPr>
            </a:p>
          </p:txBody>
        </p:sp>
        <p:sp>
          <p:nvSpPr>
            <p:cNvPr id="37" name="矩形 36"/>
            <p:cNvSpPr/>
            <p:nvPr/>
          </p:nvSpPr>
          <p:spPr>
            <a:xfrm>
              <a:off x="11033" y="5445"/>
              <a:ext cx="1377" cy="1016"/>
            </a:xfrm>
            <a:prstGeom prst="rect">
              <a:avLst/>
            </a:prstGeom>
          </p:spPr>
          <p:txBody>
            <a:bodyPr wrap="none">
              <a:spAutoFit/>
            </a:bodyPr>
            <a:lstStyle/>
            <a:p>
              <a:pPr algn="ctr"/>
              <a:r>
                <a:rPr lang="en-US" altLang="zh-CN"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07.</a:t>
              </a:r>
              <a:endParaRPr lang="zh-CN" altLang="en-US"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8" name="矩形 37"/>
            <p:cNvSpPr/>
            <p:nvPr/>
          </p:nvSpPr>
          <p:spPr>
            <a:xfrm>
              <a:off x="12524" y="5383"/>
              <a:ext cx="5088" cy="1307"/>
            </a:xfrm>
            <a:prstGeom prst="rect">
              <a:avLst/>
            </a:prstGeom>
          </p:spPr>
          <p:txBody>
            <a:bodyPr wrap="none">
              <a:spAutoFit/>
            </a:bodyPr>
            <a:lstStyle/>
            <a:p>
              <a:pPr algn="l">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工作流程、</a:t>
              </a:r>
              <a:endParaRPr lang="zh-CN" altLang="en-US" sz="2400" dirty="0">
                <a:latin typeface="站酷快乐体" panose="02010600030101010101" charset="-128"/>
                <a:ea typeface="站酷快乐体" panose="02010600030101010101" charset="-128"/>
                <a:sym typeface="思源黑体" panose="020B0400000000000000" pitchFamily="34" charset="-122"/>
              </a:endParaRPr>
            </a:p>
            <a:p>
              <a:pPr algn="l">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组员分工及贡献度比例</a:t>
              </a:r>
              <a:endParaRPr lang="zh-CN" altLang="en-US" sz="2400" dirty="0">
                <a:latin typeface="站酷快乐体" panose="02010600030101010101" charset="-128"/>
                <a:ea typeface="站酷快乐体" panose="02010600030101010101" charset="-128"/>
                <a:sym typeface="思源黑体" panose="020B0400000000000000" pitchFamily="34" charset="-122"/>
              </a:endParaRPr>
            </a:p>
          </p:txBody>
        </p:sp>
        <p:sp>
          <p:nvSpPr>
            <p:cNvPr id="39" name="矩形 38"/>
            <p:cNvSpPr/>
            <p:nvPr/>
          </p:nvSpPr>
          <p:spPr>
            <a:xfrm>
              <a:off x="11030" y="6931"/>
              <a:ext cx="1377" cy="1016"/>
            </a:xfrm>
            <a:prstGeom prst="rect">
              <a:avLst/>
            </a:prstGeom>
          </p:spPr>
          <p:txBody>
            <a:bodyPr wrap="none">
              <a:spAutoFit/>
            </a:bodyPr>
            <a:lstStyle/>
            <a:p>
              <a:pPr algn="ctr"/>
              <a:r>
                <a:rPr lang="en-US" altLang="zh-CN"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08.</a:t>
              </a:r>
              <a:endParaRPr lang="zh-CN" altLang="en-US"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40" name="矩形 39"/>
            <p:cNvSpPr/>
            <p:nvPr/>
          </p:nvSpPr>
          <p:spPr>
            <a:xfrm>
              <a:off x="12524" y="7075"/>
              <a:ext cx="3648" cy="725"/>
            </a:xfrm>
            <a:prstGeom prst="rect">
              <a:avLst/>
            </a:prstGeom>
          </p:spPr>
          <p:txBody>
            <a:bodyPr wrap="none">
              <a:spAutoFit/>
            </a:bodyPr>
            <a:lstStyle/>
            <a:p>
              <a:pPr algn="l">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存在问题和建议</a:t>
              </a:r>
              <a:endParaRPr lang="zh-CN" altLang="en-US" sz="2400" dirty="0">
                <a:latin typeface="站酷快乐体" panose="02010600030101010101" charset="-128"/>
                <a:ea typeface="站酷快乐体" panose="02010600030101010101" charset="-128"/>
                <a:sym typeface="思源黑体" panose="020B0400000000000000" pitchFamily="34" charset="-122"/>
              </a:endParaRPr>
            </a:p>
          </p:txBody>
        </p:sp>
        <p:sp>
          <p:nvSpPr>
            <p:cNvPr id="41" name="等腰三角形 40"/>
            <p:cNvSpPr/>
            <p:nvPr/>
          </p:nvSpPr>
          <p:spPr>
            <a:xfrm rot="5400000">
              <a:off x="10567" y="2669"/>
              <a:ext cx="464" cy="3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2" name="等腰三角形 41"/>
            <p:cNvSpPr/>
            <p:nvPr/>
          </p:nvSpPr>
          <p:spPr>
            <a:xfrm rot="5400000">
              <a:off x="10629" y="4188"/>
              <a:ext cx="464" cy="3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3" name="等腰三角形 42"/>
            <p:cNvSpPr/>
            <p:nvPr/>
          </p:nvSpPr>
          <p:spPr>
            <a:xfrm rot="5400000">
              <a:off x="10627" y="5781"/>
              <a:ext cx="464" cy="3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4" name="等腰三角形 43"/>
            <p:cNvSpPr/>
            <p:nvPr/>
          </p:nvSpPr>
          <p:spPr>
            <a:xfrm rot="5400000">
              <a:off x="10627" y="7267"/>
              <a:ext cx="464" cy="3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5" name="组合 4"/>
          <p:cNvGrpSpPr/>
          <p:nvPr/>
        </p:nvGrpSpPr>
        <p:grpSpPr>
          <a:xfrm>
            <a:off x="2016125" y="1581785"/>
            <a:ext cx="4027805" cy="3566160"/>
            <a:chOff x="10628" y="2393"/>
            <a:chExt cx="6343" cy="5616"/>
          </a:xfrm>
        </p:grpSpPr>
        <p:sp>
          <p:nvSpPr>
            <p:cNvPr id="6" name="矩形 5"/>
            <p:cNvSpPr/>
            <p:nvPr/>
          </p:nvSpPr>
          <p:spPr>
            <a:xfrm>
              <a:off x="11078" y="2393"/>
              <a:ext cx="1285" cy="1018"/>
            </a:xfrm>
            <a:prstGeom prst="rect">
              <a:avLst/>
            </a:prstGeom>
          </p:spPr>
          <p:txBody>
            <a:bodyPr wrap="none">
              <a:spAutoFit/>
            </a:bodyPr>
            <a:p>
              <a:pPr algn="ctr"/>
              <a:r>
                <a:rPr lang="en-US" altLang="zh-CN"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01.</a:t>
              </a:r>
              <a:endParaRPr lang="zh-CN" altLang="en-US"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 name="矩形 7"/>
            <p:cNvSpPr/>
            <p:nvPr/>
          </p:nvSpPr>
          <p:spPr>
            <a:xfrm>
              <a:off x="12363" y="2600"/>
              <a:ext cx="4128" cy="725"/>
            </a:xfrm>
            <a:prstGeom prst="rect">
              <a:avLst/>
            </a:prstGeom>
          </p:spPr>
          <p:txBody>
            <a:bodyPr wrap="none">
              <a:spAutoFit/>
            </a:bodyPr>
            <a:p>
              <a:pPr>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功能模块层次设计</a:t>
              </a:r>
              <a:endParaRPr lang="zh-CN" altLang="en-US" sz="2400" dirty="0">
                <a:latin typeface="站酷快乐体" panose="02010600030101010101" charset="-128"/>
                <a:ea typeface="站酷快乐体" panose="02010600030101010101" charset="-128"/>
                <a:sym typeface="思源黑体" panose="020B0400000000000000" pitchFamily="34" charset="-122"/>
              </a:endParaRPr>
            </a:p>
          </p:txBody>
        </p:sp>
        <p:sp>
          <p:nvSpPr>
            <p:cNvPr id="9" name="矩形 8"/>
            <p:cNvSpPr/>
            <p:nvPr/>
          </p:nvSpPr>
          <p:spPr>
            <a:xfrm>
              <a:off x="11078" y="3913"/>
              <a:ext cx="1285" cy="1018"/>
            </a:xfrm>
            <a:prstGeom prst="rect">
              <a:avLst/>
            </a:prstGeom>
          </p:spPr>
          <p:txBody>
            <a:bodyPr wrap="none">
              <a:spAutoFit/>
            </a:bodyPr>
            <a:p>
              <a:pPr algn="ctr"/>
              <a:r>
                <a:rPr lang="en-US" altLang="zh-CN"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02.</a:t>
              </a:r>
              <a:endParaRPr lang="zh-CN" altLang="en-US"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0" name="矩形 9"/>
            <p:cNvSpPr/>
            <p:nvPr/>
          </p:nvSpPr>
          <p:spPr>
            <a:xfrm>
              <a:off x="12363" y="3899"/>
              <a:ext cx="4128" cy="1307"/>
            </a:xfrm>
            <a:prstGeom prst="rect">
              <a:avLst/>
            </a:prstGeom>
          </p:spPr>
          <p:txBody>
            <a:bodyPr wrap="none">
              <a:spAutoFit/>
            </a:bodyPr>
            <a:p>
              <a:pPr algn="l">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接口设计，</a:t>
              </a:r>
              <a:r>
                <a:rPr lang="zh-CN" altLang="en-US" sz="2400" dirty="0">
                  <a:latin typeface="站酷快乐体" panose="02010600030101010101" charset="-128"/>
                  <a:ea typeface="站酷快乐体" panose="02010600030101010101" charset="-128"/>
                  <a:sym typeface="思源黑体" panose="020B0400000000000000" pitchFamily="34" charset="-122"/>
                </a:rPr>
                <a:t>类图、</a:t>
              </a:r>
              <a:endParaRPr lang="zh-CN" altLang="en-US" sz="2400" dirty="0">
                <a:latin typeface="站酷快乐体" panose="02010600030101010101" charset="-128"/>
                <a:ea typeface="站酷快乐体" panose="02010600030101010101" charset="-128"/>
                <a:sym typeface="思源黑体" panose="020B0400000000000000" pitchFamily="34" charset="-122"/>
              </a:endParaRPr>
            </a:p>
            <a:p>
              <a:pPr algn="l">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数据流图</a:t>
              </a:r>
              <a:endParaRPr lang="en-US" altLang="zh-CN" dirty="0">
                <a:latin typeface="站酷快乐体" panose="02010600030101010101" charset="-128"/>
                <a:ea typeface="站酷快乐体" panose="02010600030101010101" charset="-128"/>
                <a:sym typeface="思源黑体" panose="020B0400000000000000" pitchFamily="34" charset="-122"/>
              </a:endParaRPr>
            </a:p>
          </p:txBody>
        </p:sp>
        <p:sp>
          <p:nvSpPr>
            <p:cNvPr id="11" name="矩形 10"/>
            <p:cNvSpPr/>
            <p:nvPr/>
          </p:nvSpPr>
          <p:spPr>
            <a:xfrm>
              <a:off x="11078" y="5445"/>
              <a:ext cx="1285" cy="1018"/>
            </a:xfrm>
            <a:prstGeom prst="rect">
              <a:avLst/>
            </a:prstGeom>
          </p:spPr>
          <p:txBody>
            <a:bodyPr wrap="none">
              <a:spAutoFit/>
            </a:bodyPr>
            <a:p>
              <a:pPr algn="ctr"/>
              <a:r>
                <a:rPr lang="en-US" altLang="zh-CN"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03.</a:t>
              </a:r>
              <a:endParaRPr lang="zh-CN" altLang="en-US"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2" name="矩形 11"/>
            <p:cNvSpPr/>
            <p:nvPr/>
          </p:nvSpPr>
          <p:spPr>
            <a:xfrm>
              <a:off x="12363" y="5652"/>
              <a:ext cx="4608" cy="725"/>
            </a:xfrm>
            <a:prstGeom prst="rect">
              <a:avLst/>
            </a:prstGeom>
          </p:spPr>
          <p:txBody>
            <a:bodyPr wrap="none">
              <a:spAutoFit/>
            </a:bodyPr>
            <a:p>
              <a:pPr>
                <a:spcBef>
                  <a:spcPct val="0"/>
                </a:spcBef>
              </a:pPr>
              <a:r>
                <a:rPr lang="zh-CN" altLang="en-US" sz="2400" dirty="0">
                  <a:latin typeface="站酷快乐体" panose="02010600030101010101" charset="-128"/>
                  <a:ea typeface="站酷快乐体" panose="02010600030101010101" charset="-128"/>
                  <a:sym typeface="思源黑体" panose="020B0400000000000000" pitchFamily="34" charset="-122"/>
                </a:rPr>
                <a:t>系统安全性和健壮性</a:t>
              </a:r>
              <a:endParaRPr lang="zh-CN" altLang="en-US" sz="2400" dirty="0">
                <a:latin typeface="站酷快乐体" panose="02010600030101010101" charset="-128"/>
                <a:ea typeface="站酷快乐体" panose="02010600030101010101" charset="-128"/>
                <a:sym typeface="思源黑体" panose="020B0400000000000000" pitchFamily="34" charset="-122"/>
              </a:endParaRPr>
            </a:p>
          </p:txBody>
        </p:sp>
        <p:sp>
          <p:nvSpPr>
            <p:cNvPr id="13" name="矩形 12"/>
            <p:cNvSpPr/>
            <p:nvPr/>
          </p:nvSpPr>
          <p:spPr>
            <a:xfrm>
              <a:off x="11078" y="6991"/>
              <a:ext cx="1285" cy="1018"/>
            </a:xfrm>
            <a:prstGeom prst="rect">
              <a:avLst/>
            </a:prstGeom>
          </p:spPr>
          <p:txBody>
            <a:bodyPr wrap="none">
              <a:spAutoFit/>
            </a:bodyPr>
            <a:p>
              <a:pPr algn="ctr"/>
              <a:r>
                <a:rPr lang="en-US" altLang="zh-CN"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04.</a:t>
              </a:r>
              <a:endParaRPr lang="zh-CN" altLang="en-US" sz="36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4" name="矩形 13"/>
            <p:cNvSpPr/>
            <p:nvPr/>
          </p:nvSpPr>
          <p:spPr>
            <a:xfrm>
              <a:off x="12363" y="7138"/>
              <a:ext cx="4303" cy="725"/>
            </a:xfrm>
            <a:prstGeom prst="rect">
              <a:avLst/>
            </a:prstGeom>
          </p:spPr>
          <p:txBody>
            <a:bodyPr wrap="none">
              <a:spAutoFit/>
            </a:bodyPr>
            <a:p>
              <a:pPr>
                <a:spcBef>
                  <a:spcPct val="0"/>
                </a:spcBef>
              </a:pPr>
              <a:r>
                <a:rPr lang="en-US" sz="2400" dirty="0">
                  <a:latin typeface="站酷快乐体" panose="02010600030101010101" charset="-128"/>
                  <a:ea typeface="站酷快乐体" panose="02010600030101010101" charset="-128"/>
                  <a:cs typeface="站酷快乐体" panose="02010600030101010101" charset="-128"/>
                  <a:sym typeface="思源黑体" panose="020B0400000000000000" pitchFamily="34" charset="-122"/>
                </a:rPr>
                <a:t>ER</a:t>
              </a:r>
              <a:r>
                <a:rPr lang="zh-CN" altLang="en-US" sz="2400" dirty="0">
                  <a:latin typeface="站酷快乐体" panose="02010600030101010101" charset="-128"/>
                  <a:ea typeface="站酷快乐体" panose="02010600030101010101" charset="-128"/>
                  <a:cs typeface="站酷快乐体" panose="02010600030101010101" charset="-128"/>
                  <a:sym typeface="思源黑体" panose="020B0400000000000000" pitchFamily="34" charset="-122"/>
                </a:rPr>
                <a:t>图和表结构设计</a:t>
              </a:r>
              <a:endParaRPr lang="zh-CN" altLang="en-US" sz="2400" dirty="0">
                <a:latin typeface="站酷快乐体" panose="02010600030101010101" charset="-128"/>
                <a:ea typeface="站酷快乐体" panose="02010600030101010101" charset="-128"/>
                <a:cs typeface="站酷快乐体" panose="02010600030101010101" charset="-128"/>
                <a:sym typeface="思源黑体" panose="020B0400000000000000" pitchFamily="34" charset="-122"/>
              </a:endParaRPr>
            </a:p>
          </p:txBody>
        </p:sp>
        <p:sp>
          <p:nvSpPr>
            <p:cNvPr id="16" name="等腰三角形 15"/>
            <p:cNvSpPr/>
            <p:nvPr/>
          </p:nvSpPr>
          <p:spPr>
            <a:xfrm rot="5400000">
              <a:off x="10567" y="2730"/>
              <a:ext cx="464" cy="3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p>
              <a:pPr algn="ctr"/>
              <a:endParaRPr lang="zh-CN" altLang="en-US"/>
            </a:p>
          </p:txBody>
        </p:sp>
        <p:sp>
          <p:nvSpPr>
            <p:cNvPr id="17" name="等腰三角形 16"/>
            <p:cNvSpPr/>
            <p:nvPr/>
          </p:nvSpPr>
          <p:spPr>
            <a:xfrm rot="5400000">
              <a:off x="10567" y="4250"/>
              <a:ext cx="464" cy="3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p>
              <a:pPr algn="ctr"/>
              <a:endParaRPr lang="zh-CN" altLang="en-US"/>
            </a:p>
          </p:txBody>
        </p:sp>
        <p:sp>
          <p:nvSpPr>
            <p:cNvPr id="18" name="等腰三角形 17"/>
            <p:cNvSpPr/>
            <p:nvPr/>
          </p:nvSpPr>
          <p:spPr>
            <a:xfrm rot="5400000">
              <a:off x="10567" y="5843"/>
              <a:ext cx="464" cy="3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p>
              <a:pPr algn="ctr"/>
              <a:endParaRPr lang="zh-CN" altLang="en-US"/>
            </a:p>
          </p:txBody>
        </p:sp>
        <p:sp>
          <p:nvSpPr>
            <p:cNvPr id="20" name="等腰三角形 19"/>
            <p:cNvSpPr/>
            <p:nvPr/>
          </p:nvSpPr>
          <p:spPr>
            <a:xfrm rot="5400000">
              <a:off x="10567" y="7328"/>
              <a:ext cx="464" cy="3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down)">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1797141"/>
            <a:ext cx="12192000" cy="3263718"/>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rot="18900000">
            <a:off x="5154557" y="1936338"/>
            <a:ext cx="2985324" cy="2985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18900000">
            <a:off x="3585301" y="3886003"/>
            <a:ext cx="1724108" cy="1724108"/>
          </a:xfrm>
          <a:prstGeom prst="rect">
            <a:avLst/>
          </a:prstGeom>
          <a:solidFill>
            <a:schemeClr val="accent1"/>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18900000">
            <a:off x="2273566" y="2581459"/>
            <a:ext cx="1724108" cy="1724108"/>
          </a:xfrm>
          <a:prstGeom prst="rect">
            <a:avLst/>
          </a:prstGeom>
          <a:solidFill>
            <a:schemeClr val="accent3"/>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18900000">
            <a:off x="3582373" y="1249635"/>
            <a:ext cx="1724108" cy="1724108"/>
          </a:xfrm>
          <a:prstGeom prst="rect">
            <a:avLst/>
          </a:prstGeom>
          <a:solidFill>
            <a:schemeClr val="accent2"/>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文本框 12"/>
          <p:cNvSpPr txBox="1"/>
          <p:nvPr/>
        </p:nvSpPr>
        <p:spPr>
          <a:xfrm>
            <a:off x="5946925" y="2327699"/>
            <a:ext cx="1207454" cy="1003102"/>
          </a:xfrm>
          <a:prstGeom prst="rect">
            <a:avLst/>
          </a:prstGeom>
          <a:noFill/>
          <a:ln w="117475">
            <a:noFill/>
          </a:ln>
        </p:spPr>
        <p:txBody>
          <a:bodyPr wrap="none" rtlCol="0">
            <a:prstTxWarp prst="textPlain">
              <a:avLst/>
            </a:prstTxWarp>
            <a:spAutoFit/>
          </a:bodyPr>
          <a:lstStyle/>
          <a:p>
            <a:r>
              <a:rPr lang="en-US" altLang="zh-CN"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5</a:t>
            </a:r>
            <a:endParaRPr lang="zh-CN" altLang="en-US"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
        <p:nvSpPr>
          <p:cNvPr id="15" name="矩形 14"/>
          <p:cNvSpPr/>
          <p:nvPr/>
        </p:nvSpPr>
        <p:spPr>
          <a:xfrm>
            <a:off x="5133975" y="3331210"/>
            <a:ext cx="3027680" cy="583565"/>
          </a:xfrm>
          <a:prstGeom prst="rect">
            <a:avLst/>
          </a:prstGeom>
        </p:spPr>
        <p:txBody>
          <a:bodyPr wrap="square">
            <a:spAutoFit/>
          </a:bodyPr>
          <a:lstStyle/>
          <a:p>
            <a:pPr algn="ctr">
              <a:spcBef>
                <a:spcPct val="0"/>
              </a:spcBef>
            </a:pPr>
            <a:r>
              <a:rPr lang="zh-CN" altLang="en-US" sz="3200" dirty="0">
                <a:latin typeface="站酷快乐体" panose="02010600030101010101" charset="-128"/>
                <a:ea typeface="站酷快乐体" panose="02010600030101010101" charset="-128"/>
                <a:sym typeface="思源黑体" panose="020B0400000000000000" pitchFamily="34" charset="-122"/>
              </a:rPr>
              <a:t>运用设计</a:t>
            </a:r>
            <a:endParaRPr lang="zh-CN" altLang="en-US" sz="3200" dirty="0">
              <a:latin typeface="站酷快乐体" panose="02010600030101010101" charset="-128"/>
              <a:ea typeface="站酷快乐体" panose="02010600030101010101" charset="-128"/>
              <a:sym typeface="思源黑体" panose="020B0400000000000000" pitchFamily="34" charset="-122"/>
            </a:endParaRPr>
          </a:p>
        </p:txBody>
      </p:sp>
      <p:grpSp>
        <p:nvGrpSpPr>
          <p:cNvPr id="5" name="组合 4"/>
          <p:cNvGrpSpPr/>
          <p:nvPr/>
        </p:nvGrpSpPr>
        <p:grpSpPr>
          <a:xfrm>
            <a:off x="4612405" y="1091381"/>
            <a:ext cx="4069626" cy="4599650"/>
            <a:chOff x="5550217" y="1317873"/>
            <a:chExt cx="3668840" cy="4146666"/>
          </a:xfrm>
        </p:grpSpPr>
        <p:sp>
          <p:nvSpPr>
            <p:cNvPr id="16" name="矩形 22"/>
            <p:cNvSpPr/>
            <p:nvPr/>
          </p:nvSpPr>
          <p:spPr>
            <a:xfrm rot="18900000" flipV="1">
              <a:off x="5550217" y="1317873"/>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22"/>
            <p:cNvSpPr/>
            <p:nvPr/>
          </p:nvSpPr>
          <p:spPr>
            <a:xfrm rot="2700000">
              <a:off x="5550217" y="1795699"/>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8" name="iconfont-10459-4813179"/>
          <p:cNvSpPr>
            <a:spLocks noChangeAspect="1"/>
          </p:cNvSpPr>
          <p:nvPr/>
        </p:nvSpPr>
        <p:spPr bwMode="auto">
          <a:xfrm>
            <a:off x="4231433" y="1797141"/>
            <a:ext cx="609685" cy="600087"/>
          </a:xfrm>
          <a:custGeom>
            <a:avLst/>
            <a:gdLst>
              <a:gd name="T0" fmla="*/ 5779 w 11379"/>
              <a:gd name="T1" fmla="*/ 0 h 11200"/>
              <a:gd name="T2" fmla="*/ 711 w 11379"/>
              <a:gd name="T3" fmla="*/ 3215 h 11200"/>
              <a:gd name="T4" fmla="*/ 711 w 11379"/>
              <a:gd name="T5" fmla="*/ 7985 h 11200"/>
              <a:gd name="T6" fmla="*/ 5779 w 11379"/>
              <a:gd name="T7" fmla="*/ 11200 h 11200"/>
              <a:gd name="T8" fmla="*/ 11379 w 11379"/>
              <a:gd name="T9" fmla="*/ 5600 h 11200"/>
              <a:gd name="T10" fmla="*/ 5779 w 11379"/>
              <a:gd name="T11" fmla="*/ 0 h 11200"/>
              <a:gd name="T12" fmla="*/ 979 w 11379"/>
              <a:gd name="T13" fmla="*/ 5600 h 11200"/>
              <a:gd name="T14" fmla="*/ 1244 w 11379"/>
              <a:gd name="T15" fmla="*/ 4022 h 11200"/>
              <a:gd name="T16" fmla="*/ 2581 w 11379"/>
              <a:gd name="T17" fmla="*/ 5600 h 11200"/>
              <a:gd name="T18" fmla="*/ 1244 w 11379"/>
              <a:gd name="T19" fmla="*/ 7178 h 11200"/>
              <a:gd name="T20" fmla="*/ 979 w 11379"/>
              <a:gd name="T21" fmla="*/ 5600 h 11200"/>
              <a:gd name="T22" fmla="*/ 9173 w 11379"/>
              <a:gd name="T23" fmla="*/ 8994 h 11200"/>
              <a:gd name="T24" fmla="*/ 5109 w 11379"/>
              <a:gd name="T25" fmla="*/ 10352 h 11200"/>
              <a:gd name="T26" fmla="*/ 1578 w 11379"/>
              <a:gd name="T27" fmla="*/ 7925 h 11200"/>
              <a:gd name="T28" fmla="*/ 3379 w 11379"/>
              <a:gd name="T29" fmla="*/ 5600 h 11200"/>
              <a:gd name="T30" fmla="*/ 1578 w 11379"/>
              <a:gd name="T31" fmla="*/ 3276 h 11200"/>
              <a:gd name="T32" fmla="*/ 4778 w 11379"/>
              <a:gd name="T33" fmla="*/ 901 h 11200"/>
              <a:gd name="T34" fmla="*/ 8669 w 11379"/>
              <a:gd name="T35" fmla="*/ 1761 h 11200"/>
              <a:gd name="T36" fmla="*/ 10571 w 11379"/>
              <a:gd name="T37" fmla="*/ 5263 h 11200"/>
              <a:gd name="T38" fmla="*/ 9173 w 11379"/>
              <a:gd name="T39" fmla="*/ 8994 h 11200"/>
              <a:gd name="T40" fmla="*/ 10179 w 11379"/>
              <a:gd name="T41" fmla="*/ 2400 h 11200"/>
              <a:gd name="T42" fmla="*/ 1379 w 11379"/>
              <a:gd name="T43" fmla="*/ 2400 h 11200"/>
              <a:gd name="T44" fmla="*/ 1379 w 11379"/>
              <a:gd name="T45" fmla="*/ 3200 h 11200"/>
              <a:gd name="T46" fmla="*/ 10179 w 11379"/>
              <a:gd name="T47" fmla="*/ 3200 h 11200"/>
              <a:gd name="T48" fmla="*/ 10179 w 11379"/>
              <a:gd name="T49" fmla="*/ 2400 h 11200"/>
              <a:gd name="T50" fmla="*/ 10179 w 11379"/>
              <a:gd name="T51" fmla="*/ 8000 h 11200"/>
              <a:gd name="T52" fmla="*/ 1379 w 11379"/>
              <a:gd name="T53" fmla="*/ 8000 h 11200"/>
              <a:gd name="T54" fmla="*/ 1379 w 11379"/>
              <a:gd name="T55" fmla="*/ 8800 h 11200"/>
              <a:gd name="T56" fmla="*/ 10179 w 11379"/>
              <a:gd name="T57" fmla="*/ 8800 h 11200"/>
              <a:gd name="T58" fmla="*/ 10179 w 11379"/>
              <a:gd name="T59" fmla="*/ 8000 h 11200"/>
              <a:gd name="T60" fmla="*/ 5379 w 11379"/>
              <a:gd name="T61" fmla="*/ 3600 h 11200"/>
              <a:gd name="T62" fmla="*/ 3779 w 11379"/>
              <a:gd name="T63" fmla="*/ 3600 h 11200"/>
              <a:gd name="T64" fmla="*/ 3779 w 11379"/>
              <a:gd name="T65" fmla="*/ 5200 h 11200"/>
              <a:gd name="T66" fmla="*/ 5379 w 11379"/>
              <a:gd name="T67" fmla="*/ 5200 h 11200"/>
              <a:gd name="T68" fmla="*/ 5379 w 11379"/>
              <a:gd name="T69" fmla="*/ 3600 h 11200"/>
              <a:gd name="T70" fmla="*/ 5379 w 11379"/>
              <a:gd name="T71" fmla="*/ 6000 h 11200"/>
              <a:gd name="T72" fmla="*/ 3779 w 11379"/>
              <a:gd name="T73" fmla="*/ 6000 h 11200"/>
              <a:gd name="T74" fmla="*/ 3779 w 11379"/>
              <a:gd name="T75" fmla="*/ 7600 h 11200"/>
              <a:gd name="T76" fmla="*/ 5379 w 11379"/>
              <a:gd name="T77" fmla="*/ 7600 h 11200"/>
              <a:gd name="T78" fmla="*/ 5379 w 11379"/>
              <a:gd name="T79" fmla="*/ 6000 h 11200"/>
              <a:gd name="T80" fmla="*/ 7379 w 11379"/>
              <a:gd name="T81" fmla="*/ 3600 h 11200"/>
              <a:gd name="T82" fmla="*/ 5779 w 11379"/>
              <a:gd name="T83" fmla="*/ 3600 h 11200"/>
              <a:gd name="T84" fmla="*/ 5779 w 11379"/>
              <a:gd name="T85" fmla="*/ 5200 h 11200"/>
              <a:gd name="T86" fmla="*/ 7379 w 11379"/>
              <a:gd name="T87" fmla="*/ 5200 h 11200"/>
              <a:gd name="T88" fmla="*/ 7379 w 11379"/>
              <a:gd name="T89" fmla="*/ 3600 h 11200"/>
              <a:gd name="T90" fmla="*/ 7379 w 11379"/>
              <a:gd name="T91" fmla="*/ 6000 h 11200"/>
              <a:gd name="T92" fmla="*/ 5779 w 11379"/>
              <a:gd name="T93" fmla="*/ 6000 h 11200"/>
              <a:gd name="T94" fmla="*/ 5779 w 11379"/>
              <a:gd name="T95" fmla="*/ 7600 h 11200"/>
              <a:gd name="T96" fmla="*/ 7379 w 11379"/>
              <a:gd name="T97" fmla="*/ 7600 h 11200"/>
              <a:gd name="T98" fmla="*/ 7379 w 11379"/>
              <a:gd name="T99" fmla="*/ 6000 h 11200"/>
              <a:gd name="T100" fmla="*/ 9379 w 11379"/>
              <a:gd name="T101" fmla="*/ 3600 h 11200"/>
              <a:gd name="T102" fmla="*/ 7779 w 11379"/>
              <a:gd name="T103" fmla="*/ 3600 h 11200"/>
              <a:gd name="T104" fmla="*/ 7779 w 11379"/>
              <a:gd name="T105" fmla="*/ 5200 h 11200"/>
              <a:gd name="T106" fmla="*/ 9379 w 11379"/>
              <a:gd name="T107" fmla="*/ 5200 h 11200"/>
              <a:gd name="T108" fmla="*/ 9379 w 11379"/>
              <a:gd name="T109" fmla="*/ 3600 h 11200"/>
              <a:gd name="T110" fmla="*/ 9379 w 11379"/>
              <a:gd name="T111" fmla="*/ 6000 h 11200"/>
              <a:gd name="T112" fmla="*/ 7779 w 11379"/>
              <a:gd name="T113" fmla="*/ 6000 h 11200"/>
              <a:gd name="T114" fmla="*/ 7779 w 11379"/>
              <a:gd name="T115" fmla="*/ 7600 h 11200"/>
              <a:gd name="T116" fmla="*/ 9379 w 11379"/>
              <a:gd name="T117" fmla="*/ 7600 h 11200"/>
              <a:gd name="T118" fmla="*/ 9379 w 11379"/>
              <a:gd name="T119" fmla="*/ 60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9" h="11200">
                <a:moveTo>
                  <a:pt x="5779" y="0"/>
                </a:moveTo>
                <a:cubicBezTo>
                  <a:pt x="3539" y="0"/>
                  <a:pt x="1607" y="1315"/>
                  <a:pt x="711" y="3215"/>
                </a:cubicBezTo>
                <a:cubicBezTo>
                  <a:pt x="0" y="4726"/>
                  <a:pt x="0" y="6474"/>
                  <a:pt x="711" y="7985"/>
                </a:cubicBezTo>
                <a:cubicBezTo>
                  <a:pt x="1607" y="9885"/>
                  <a:pt x="3539" y="11200"/>
                  <a:pt x="5779" y="11200"/>
                </a:cubicBezTo>
                <a:cubicBezTo>
                  <a:pt x="8872" y="11200"/>
                  <a:pt x="11379" y="8693"/>
                  <a:pt x="11379" y="5600"/>
                </a:cubicBezTo>
                <a:cubicBezTo>
                  <a:pt x="11379" y="2507"/>
                  <a:pt x="8872" y="0"/>
                  <a:pt x="5779" y="0"/>
                </a:cubicBezTo>
                <a:close/>
                <a:moveTo>
                  <a:pt x="979" y="5600"/>
                </a:moveTo>
                <a:cubicBezTo>
                  <a:pt x="978" y="5063"/>
                  <a:pt x="1068" y="4529"/>
                  <a:pt x="1244" y="4022"/>
                </a:cubicBezTo>
                <a:cubicBezTo>
                  <a:pt x="2016" y="4151"/>
                  <a:pt x="2581" y="4818"/>
                  <a:pt x="2581" y="5600"/>
                </a:cubicBezTo>
                <a:cubicBezTo>
                  <a:pt x="2581" y="6382"/>
                  <a:pt x="2016" y="7050"/>
                  <a:pt x="1244" y="7178"/>
                </a:cubicBezTo>
                <a:cubicBezTo>
                  <a:pt x="1068" y="6671"/>
                  <a:pt x="978" y="6137"/>
                  <a:pt x="979" y="5600"/>
                </a:cubicBezTo>
                <a:close/>
                <a:moveTo>
                  <a:pt x="9173" y="8994"/>
                </a:moveTo>
                <a:cubicBezTo>
                  <a:pt x="8107" y="10059"/>
                  <a:pt x="6602" y="10562"/>
                  <a:pt x="5109" y="10352"/>
                </a:cubicBezTo>
                <a:cubicBezTo>
                  <a:pt x="3617" y="10142"/>
                  <a:pt x="2309" y="9243"/>
                  <a:pt x="1578" y="7925"/>
                </a:cubicBezTo>
                <a:cubicBezTo>
                  <a:pt x="2638" y="7651"/>
                  <a:pt x="3379" y="6695"/>
                  <a:pt x="3379" y="5600"/>
                </a:cubicBezTo>
                <a:cubicBezTo>
                  <a:pt x="3379" y="4506"/>
                  <a:pt x="2638" y="3549"/>
                  <a:pt x="1578" y="3276"/>
                </a:cubicBezTo>
                <a:cubicBezTo>
                  <a:pt x="2251" y="2058"/>
                  <a:pt x="3418" y="1192"/>
                  <a:pt x="4778" y="901"/>
                </a:cubicBezTo>
                <a:cubicBezTo>
                  <a:pt x="6138" y="611"/>
                  <a:pt x="7558" y="924"/>
                  <a:pt x="8669" y="1761"/>
                </a:cubicBezTo>
                <a:cubicBezTo>
                  <a:pt x="9780" y="2598"/>
                  <a:pt x="10474" y="3875"/>
                  <a:pt x="10571" y="5263"/>
                </a:cubicBezTo>
                <a:cubicBezTo>
                  <a:pt x="10667" y="6650"/>
                  <a:pt x="10157" y="8011"/>
                  <a:pt x="9173" y="8994"/>
                </a:cubicBezTo>
                <a:close/>
                <a:moveTo>
                  <a:pt x="10179" y="2400"/>
                </a:moveTo>
                <a:lnTo>
                  <a:pt x="1379" y="2400"/>
                </a:lnTo>
                <a:lnTo>
                  <a:pt x="1379" y="3200"/>
                </a:lnTo>
                <a:lnTo>
                  <a:pt x="10179" y="3200"/>
                </a:lnTo>
                <a:lnTo>
                  <a:pt x="10179" y="2400"/>
                </a:lnTo>
                <a:close/>
                <a:moveTo>
                  <a:pt x="10179" y="8000"/>
                </a:moveTo>
                <a:lnTo>
                  <a:pt x="1379" y="8000"/>
                </a:lnTo>
                <a:lnTo>
                  <a:pt x="1379" y="8800"/>
                </a:lnTo>
                <a:lnTo>
                  <a:pt x="10179" y="8800"/>
                </a:lnTo>
                <a:lnTo>
                  <a:pt x="10179" y="8000"/>
                </a:lnTo>
                <a:close/>
                <a:moveTo>
                  <a:pt x="5379" y="3600"/>
                </a:moveTo>
                <a:lnTo>
                  <a:pt x="3779" y="3600"/>
                </a:lnTo>
                <a:lnTo>
                  <a:pt x="3779" y="5200"/>
                </a:lnTo>
                <a:lnTo>
                  <a:pt x="5379" y="5200"/>
                </a:lnTo>
                <a:lnTo>
                  <a:pt x="5379" y="3600"/>
                </a:lnTo>
                <a:close/>
                <a:moveTo>
                  <a:pt x="5379" y="6000"/>
                </a:moveTo>
                <a:lnTo>
                  <a:pt x="3779" y="6000"/>
                </a:lnTo>
                <a:lnTo>
                  <a:pt x="3779" y="7600"/>
                </a:lnTo>
                <a:lnTo>
                  <a:pt x="5379" y="7600"/>
                </a:lnTo>
                <a:lnTo>
                  <a:pt x="5379" y="6000"/>
                </a:lnTo>
                <a:close/>
                <a:moveTo>
                  <a:pt x="7379" y="3600"/>
                </a:moveTo>
                <a:lnTo>
                  <a:pt x="5779" y="3600"/>
                </a:lnTo>
                <a:lnTo>
                  <a:pt x="5779" y="5200"/>
                </a:lnTo>
                <a:lnTo>
                  <a:pt x="7379" y="5200"/>
                </a:lnTo>
                <a:lnTo>
                  <a:pt x="7379" y="3600"/>
                </a:lnTo>
                <a:close/>
                <a:moveTo>
                  <a:pt x="7379" y="6000"/>
                </a:moveTo>
                <a:lnTo>
                  <a:pt x="5779" y="6000"/>
                </a:lnTo>
                <a:lnTo>
                  <a:pt x="5779" y="7600"/>
                </a:lnTo>
                <a:lnTo>
                  <a:pt x="7379" y="7600"/>
                </a:lnTo>
                <a:lnTo>
                  <a:pt x="7379" y="6000"/>
                </a:lnTo>
                <a:close/>
                <a:moveTo>
                  <a:pt x="9379" y="3600"/>
                </a:moveTo>
                <a:lnTo>
                  <a:pt x="7779" y="3600"/>
                </a:lnTo>
                <a:lnTo>
                  <a:pt x="7779" y="5200"/>
                </a:lnTo>
                <a:lnTo>
                  <a:pt x="9379" y="5200"/>
                </a:lnTo>
                <a:lnTo>
                  <a:pt x="9379" y="3600"/>
                </a:lnTo>
                <a:close/>
                <a:moveTo>
                  <a:pt x="9379" y="6000"/>
                </a:moveTo>
                <a:lnTo>
                  <a:pt x="7779" y="6000"/>
                </a:lnTo>
                <a:lnTo>
                  <a:pt x="7779" y="7600"/>
                </a:lnTo>
                <a:lnTo>
                  <a:pt x="9379" y="7600"/>
                </a:lnTo>
                <a:lnTo>
                  <a:pt x="9379" y="6000"/>
                </a:lnTo>
                <a:close/>
              </a:path>
            </a:pathLst>
          </a:custGeom>
          <a:solidFill>
            <a:schemeClr val="bg1"/>
          </a:solidFill>
          <a:ln>
            <a:noFill/>
          </a:ln>
        </p:spPr>
      </p:sp>
      <p:sp>
        <p:nvSpPr>
          <p:cNvPr id="19" name="iconfont-10459-4813181"/>
          <p:cNvSpPr>
            <a:spLocks noChangeAspect="1"/>
          </p:cNvSpPr>
          <p:nvPr/>
        </p:nvSpPr>
        <p:spPr bwMode="auto">
          <a:xfrm>
            <a:off x="2864696" y="3215149"/>
            <a:ext cx="609685" cy="597919"/>
          </a:xfrm>
          <a:custGeom>
            <a:avLst/>
            <a:gdLst>
              <a:gd name="T0" fmla="*/ 8480 w 11552"/>
              <a:gd name="T1" fmla="*/ 5776 h 11328"/>
              <a:gd name="T2" fmla="*/ 7632 w 11552"/>
              <a:gd name="T3" fmla="*/ 0 h 11328"/>
              <a:gd name="T4" fmla="*/ 0 w 11552"/>
              <a:gd name="T5" fmla="*/ 848 h 11328"/>
              <a:gd name="T6" fmla="*/ 848 w 11552"/>
              <a:gd name="T7" fmla="*/ 11328 h 11328"/>
              <a:gd name="T8" fmla="*/ 6032 w 11552"/>
              <a:gd name="T9" fmla="*/ 6656 h 11328"/>
              <a:gd name="T10" fmla="*/ 2048 w 11552"/>
              <a:gd name="T11" fmla="*/ 1392 h 11328"/>
              <a:gd name="T12" fmla="*/ 7152 w 11552"/>
              <a:gd name="T13" fmla="*/ 2096 h 11328"/>
              <a:gd name="T14" fmla="*/ 2048 w 11552"/>
              <a:gd name="T15" fmla="*/ 2800 h 11328"/>
              <a:gd name="T16" fmla="*/ 2048 w 11552"/>
              <a:gd name="T17" fmla="*/ 1392 h 11328"/>
              <a:gd name="T18" fmla="*/ 2048 w 11552"/>
              <a:gd name="T19" fmla="*/ 3552 h 11328"/>
              <a:gd name="T20" fmla="*/ 7152 w 11552"/>
              <a:gd name="T21" fmla="*/ 4256 h 11328"/>
              <a:gd name="T22" fmla="*/ 2048 w 11552"/>
              <a:gd name="T23" fmla="*/ 4960 h 11328"/>
              <a:gd name="T24" fmla="*/ 4240 w 11552"/>
              <a:gd name="T25" fmla="*/ 8160 h 11328"/>
              <a:gd name="T26" fmla="*/ 4240 w 11552"/>
              <a:gd name="T27" fmla="*/ 6080 h 11328"/>
              <a:gd name="T28" fmla="*/ 4240 w 11552"/>
              <a:gd name="T29" fmla="*/ 8160 h 11328"/>
              <a:gd name="T30" fmla="*/ 6512 w 11552"/>
              <a:gd name="T31" fmla="*/ 9088 h 11328"/>
              <a:gd name="T32" fmla="*/ 7632 w 11552"/>
              <a:gd name="T33" fmla="*/ 10768 h 11328"/>
              <a:gd name="T34" fmla="*/ 7632 w 11552"/>
              <a:gd name="T35" fmla="*/ 8528 h 11328"/>
              <a:gd name="T36" fmla="*/ 9552 w 11552"/>
              <a:gd name="T37" fmla="*/ 8400 h 11328"/>
              <a:gd name="T38" fmla="*/ 9168 w 11552"/>
              <a:gd name="T39" fmla="*/ 7824 h 11328"/>
              <a:gd name="T40" fmla="*/ 8976 w 11552"/>
              <a:gd name="T41" fmla="*/ 8208 h 11328"/>
              <a:gd name="T42" fmla="*/ 8896 w 11552"/>
              <a:gd name="T43" fmla="*/ 9264 h 11328"/>
              <a:gd name="T44" fmla="*/ 9104 w 11552"/>
              <a:gd name="T45" fmla="*/ 9632 h 11328"/>
              <a:gd name="T46" fmla="*/ 9552 w 11552"/>
              <a:gd name="T47" fmla="*/ 8400 h 11328"/>
              <a:gd name="T48" fmla="*/ 10480 w 11552"/>
              <a:gd name="T49" fmla="*/ 8128 h 11328"/>
              <a:gd name="T50" fmla="*/ 9824 w 11552"/>
              <a:gd name="T51" fmla="*/ 7216 h 11328"/>
              <a:gd name="T52" fmla="*/ 9664 w 11552"/>
              <a:gd name="T53" fmla="*/ 7632 h 11328"/>
              <a:gd name="T54" fmla="*/ 9520 w 11552"/>
              <a:gd name="T55" fmla="*/ 9888 h 11328"/>
              <a:gd name="T56" fmla="*/ 9696 w 11552"/>
              <a:gd name="T57" fmla="*/ 10288 h 11328"/>
              <a:gd name="T58" fmla="*/ 10496 w 11552"/>
              <a:gd name="T59" fmla="*/ 9072 h 11328"/>
              <a:gd name="T60" fmla="*/ 10768 w 11552"/>
              <a:gd name="T61" fmla="*/ 6688 h 11328"/>
              <a:gd name="T62" fmla="*/ 10336 w 11552"/>
              <a:gd name="T63" fmla="*/ 6832 h 11328"/>
              <a:gd name="T64" fmla="*/ 10896 w 11552"/>
              <a:gd name="T65" fmla="*/ 9520 h 11328"/>
              <a:gd name="T66" fmla="*/ 10128 w 11552"/>
              <a:gd name="T67" fmla="*/ 10784 h 11328"/>
              <a:gd name="T68" fmla="*/ 10528 w 11552"/>
              <a:gd name="T69" fmla="*/ 10960 h 11328"/>
              <a:gd name="T70" fmla="*/ 11504 w 11552"/>
              <a:gd name="T71" fmla="*/ 8336 h 1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2" h="11328">
                <a:moveTo>
                  <a:pt x="6928" y="5776"/>
                </a:moveTo>
                <a:lnTo>
                  <a:pt x="8480" y="5776"/>
                </a:lnTo>
                <a:lnTo>
                  <a:pt x="8480" y="848"/>
                </a:lnTo>
                <a:cubicBezTo>
                  <a:pt x="8480" y="384"/>
                  <a:pt x="8096" y="0"/>
                  <a:pt x="7632" y="0"/>
                </a:cubicBezTo>
                <a:lnTo>
                  <a:pt x="864" y="0"/>
                </a:lnTo>
                <a:cubicBezTo>
                  <a:pt x="384" y="0"/>
                  <a:pt x="0" y="384"/>
                  <a:pt x="0" y="848"/>
                </a:cubicBezTo>
                <a:lnTo>
                  <a:pt x="0" y="10480"/>
                </a:lnTo>
                <a:cubicBezTo>
                  <a:pt x="0" y="10944"/>
                  <a:pt x="384" y="11328"/>
                  <a:pt x="848" y="11328"/>
                </a:cubicBezTo>
                <a:lnTo>
                  <a:pt x="6032" y="11328"/>
                </a:lnTo>
                <a:lnTo>
                  <a:pt x="6032" y="6656"/>
                </a:lnTo>
                <a:cubicBezTo>
                  <a:pt x="6048" y="6176"/>
                  <a:pt x="6448" y="5776"/>
                  <a:pt x="6928" y="5776"/>
                </a:cubicBezTo>
                <a:close/>
                <a:moveTo>
                  <a:pt x="2048" y="1392"/>
                </a:moveTo>
                <a:lnTo>
                  <a:pt x="6448" y="1392"/>
                </a:lnTo>
                <a:cubicBezTo>
                  <a:pt x="6832" y="1392"/>
                  <a:pt x="7152" y="1712"/>
                  <a:pt x="7152" y="2096"/>
                </a:cubicBezTo>
                <a:cubicBezTo>
                  <a:pt x="7152" y="2480"/>
                  <a:pt x="6832" y="2800"/>
                  <a:pt x="6448" y="2800"/>
                </a:cubicBezTo>
                <a:lnTo>
                  <a:pt x="2048" y="2800"/>
                </a:lnTo>
                <a:cubicBezTo>
                  <a:pt x="1664" y="2800"/>
                  <a:pt x="1344" y="2480"/>
                  <a:pt x="1344" y="2096"/>
                </a:cubicBezTo>
                <a:cubicBezTo>
                  <a:pt x="1344" y="1712"/>
                  <a:pt x="1664" y="1392"/>
                  <a:pt x="2048" y="1392"/>
                </a:cubicBezTo>
                <a:close/>
                <a:moveTo>
                  <a:pt x="1344" y="4256"/>
                </a:moveTo>
                <a:cubicBezTo>
                  <a:pt x="1344" y="3872"/>
                  <a:pt x="1664" y="3552"/>
                  <a:pt x="2048" y="3552"/>
                </a:cubicBezTo>
                <a:lnTo>
                  <a:pt x="6448" y="3552"/>
                </a:lnTo>
                <a:cubicBezTo>
                  <a:pt x="6832" y="3552"/>
                  <a:pt x="7152" y="3872"/>
                  <a:pt x="7152" y="4256"/>
                </a:cubicBezTo>
                <a:cubicBezTo>
                  <a:pt x="7152" y="4640"/>
                  <a:pt x="6832" y="4960"/>
                  <a:pt x="6448" y="4960"/>
                </a:cubicBezTo>
                <a:lnTo>
                  <a:pt x="2048" y="4960"/>
                </a:lnTo>
                <a:cubicBezTo>
                  <a:pt x="1664" y="4944"/>
                  <a:pt x="1344" y="4624"/>
                  <a:pt x="1344" y="4256"/>
                </a:cubicBezTo>
                <a:close/>
                <a:moveTo>
                  <a:pt x="4240" y="8160"/>
                </a:moveTo>
                <a:cubicBezTo>
                  <a:pt x="3664" y="8160"/>
                  <a:pt x="3200" y="7696"/>
                  <a:pt x="3200" y="7120"/>
                </a:cubicBezTo>
                <a:cubicBezTo>
                  <a:pt x="3200" y="6544"/>
                  <a:pt x="3664" y="6080"/>
                  <a:pt x="4240" y="6080"/>
                </a:cubicBezTo>
                <a:cubicBezTo>
                  <a:pt x="4816" y="6080"/>
                  <a:pt x="5280" y="6544"/>
                  <a:pt x="5280" y="7120"/>
                </a:cubicBezTo>
                <a:cubicBezTo>
                  <a:pt x="5296" y="7696"/>
                  <a:pt x="4832" y="8160"/>
                  <a:pt x="4240" y="8160"/>
                </a:cubicBezTo>
                <a:close/>
                <a:moveTo>
                  <a:pt x="7632" y="6848"/>
                </a:moveTo>
                <a:lnTo>
                  <a:pt x="6512" y="9088"/>
                </a:lnTo>
                <a:lnTo>
                  <a:pt x="7632" y="9088"/>
                </a:lnTo>
                <a:lnTo>
                  <a:pt x="7632" y="10768"/>
                </a:lnTo>
                <a:lnTo>
                  <a:pt x="8752" y="8528"/>
                </a:lnTo>
                <a:lnTo>
                  <a:pt x="7632" y="8528"/>
                </a:lnTo>
                <a:lnTo>
                  <a:pt x="7632" y="6848"/>
                </a:lnTo>
                <a:close/>
                <a:moveTo>
                  <a:pt x="9552" y="8400"/>
                </a:moveTo>
                <a:cubicBezTo>
                  <a:pt x="9504" y="8112"/>
                  <a:pt x="9376" y="7952"/>
                  <a:pt x="9360" y="7920"/>
                </a:cubicBezTo>
                <a:cubicBezTo>
                  <a:pt x="9312" y="7856"/>
                  <a:pt x="9248" y="7824"/>
                  <a:pt x="9168" y="7824"/>
                </a:cubicBezTo>
                <a:cubicBezTo>
                  <a:pt x="9040" y="7824"/>
                  <a:pt x="8928" y="7936"/>
                  <a:pt x="8928" y="8064"/>
                </a:cubicBezTo>
                <a:cubicBezTo>
                  <a:pt x="8928" y="8112"/>
                  <a:pt x="8944" y="8176"/>
                  <a:pt x="8976" y="8208"/>
                </a:cubicBezTo>
                <a:cubicBezTo>
                  <a:pt x="8976" y="8208"/>
                  <a:pt x="9040" y="8304"/>
                  <a:pt x="9072" y="8480"/>
                </a:cubicBezTo>
                <a:cubicBezTo>
                  <a:pt x="9120" y="8736"/>
                  <a:pt x="9056" y="8992"/>
                  <a:pt x="8896" y="9264"/>
                </a:cubicBezTo>
                <a:cubicBezTo>
                  <a:pt x="8880" y="9296"/>
                  <a:pt x="8864" y="9344"/>
                  <a:pt x="8864" y="9392"/>
                </a:cubicBezTo>
                <a:cubicBezTo>
                  <a:pt x="8864" y="9520"/>
                  <a:pt x="8976" y="9632"/>
                  <a:pt x="9104" y="9632"/>
                </a:cubicBezTo>
                <a:cubicBezTo>
                  <a:pt x="9200" y="9632"/>
                  <a:pt x="9264" y="9584"/>
                  <a:pt x="9312" y="9520"/>
                </a:cubicBezTo>
                <a:cubicBezTo>
                  <a:pt x="9584" y="9056"/>
                  <a:pt x="9584" y="8656"/>
                  <a:pt x="9552" y="8400"/>
                </a:cubicBezTo>
                <a:close/>
                <a:moveTo>
                  <a:pt x="10496" y="9072"/>
                </a:moveTo>
                <a:cubicBezTo>
                  <a:pt x="10576" y="8752"/>
                  <a:pt x="10560" y="8432"/>
                  <a:pt x="10480" y="8128"/>
                </a:cubicBezTo>
                <a:cubicBezTo>
                  <a:pt x="10336" y="7600"/>
                  <a:pt x="10000" y="7296"/>
                  <a:pt x="9984" y="7280"/>
                </a:cubicBezTo>
                <a:cubicBezTo>
                  <a:pt x="9936" y="7248"/>
                  <a:pt x="9888" y="7216"/>
                  <a:pt x="9824" y="7216"/>
                </a:cubicBezTo>
                <a:cubicBezTo>
                  <a:pt x="9696" y="7216"/>
                  <a:pt x="9584" y="7328"/>
                  <a:pt x="9584" y="7456"/>
                </a:cubicBezTo>
                <a:cubicBezTo>
                  <a:pt x="9584" y="7520"/>
                  <a:pt x="9616" y="7584"/>
                  <a:pt x="9664" y="7632"/>
                </a:cubicBezTo>
                <a:cubicBezTo>
                  <a:pt x="9664" y="7632"/>
                  <a:pt x="9920" y="7872"/>
                  <a:pt x="10032" y="8272"/>
                </a:cubicBezTo>
                <a:cubicBezTo>
                  <a:pt x="10176" y="8800"/>
                  <a:pt x="10000" y="9344"/>
                  <a:pt x="9520" y="9888"/>
                </a:cubicBezTo>
                <a:cubicBezTo>
                  <a:pt x="9488" y="9936"/>
                  <a:pt x="9456" y="9984"/>
                  <a:pt x="9456" y="10048"/>
                </a:cubicBezTo>
                <a:cubicBezTo>
                  <a:pt x="9456" y="10176"/>
                  <a:pt x="9568" y="10288"/>
                  <a:pt x="9696" y="10288"/>
                </a:cubicBezTo>
                <a:cubicBezTo>
                  <a:pt x="9776" y="10288"/>
                  <a:pt x="9840" y="10256"/>
                  <a:pt x="9888" y="10208"/>
                </a:cubicBezTo>
                <a:cubicBezTo>
                  <a:pt x="10192" y="9840"/>
                  <a:pt x="10400" y="9456"/>
                  <a:pt x="10496" y="9072"/>
                </a:cubicBezTo>
                <a:close/>
                <a:moveTo>
                  <a:pt x="11504" y="8336"/>
                </a:moveTo>
                <a:cubicBezTo>
                  <a:pt x="11424" y="7776"/>
                  <a:pt x="11184" y="7216"/>
                  <a:pt x="10768" y="6688"/>
                </a:cubicBezTo>
                <a:cubicBezTo>
                  <a:pt x="10720" y="6624"/>
                  <a:pt x="10656" y="6592"/>
                  <a:pt x="10576" y="6592"/>
                </a:cubicBezTo>
                <a:cubicBezTo>
                  <a:pt x="10448" y="6592"/>
                  <a:pt x="10336" y="6704"/>
                  <a:pt x="10336" y="6832"/>
                </a:cubicBezTo>
                <a:cubicBezTo>
                  <a:pt x="10336" y="6880"/>
                  <a:pt x="10352" y="6944"/>
                  <a:pt x="10384" y="6976"/>
                </a:cubicBezTo>
                <a:cubicBezTo>
                  <a:pt x="11040" y="7808"/>
                  <a:pt x="11200" y="8656"/>
                  <a:pt x="10896" y="9520"/>
                </a:cubicBezTo>
                <a:cubicBezTo>
                  <a:pt x="10656" y="10176"/>
                  <a:pt x="10208" y="10592"/>
                  <a:pt x="10208" y="10608"/>
                </a:cubicBezTo>
                <a:cubicBezTo>
                  <a:pt x="10160" y="10656"/>
                  <a:pt x="10128" y="10720"/>
                  <a:pt x="10128" y="10784"/>
                </a:cubicBezTo>
                <a:cubicBezTo>
                  <a:pt x="10128" y="10912"/>
                  <a:pt x="10240" y="11024"/>
                  <a:pt x="10368" y="11024"/>
                </a:cubicBezTo>
                <a:cubicBezTo>
                  <a:pt x="10432" y="11024"/>
                  <a:pt x="10496" y="10992"/>
                  <a:pt x="10528" y="10960"/>
                </a:cubicBezTo>
                <a:cubicBezTo>
                  <a:pt x="10544" y="10944"/>
                  <a:pt x="11056" y="10464"/>
                  <a:pt x="11344" y="9712"/>
                </a:cubicBezTo>
                <a:cubicBezTo>
                  <a:pt x="11504" y="9264"/>
                  <a:pt x="11552" y="8800"/>
                  <a:pt x="11504" y="8336"/>
                </a:cubicBezTo>
                <a:close/>
              </a:path>
            </a:pathLst>
          </a:custGeom>
          <a:solidFill>
            <a:schemeClr val="bg1"/>
          </a:solidFill>
          <a:ln>
            <a:noFill/>
          </a:ln>
        </p:spPr>
      </p:sp>
      <p:sp>
        <p:nvSpPr>
          <p:cNvPr id="20" name="iconfont-10043-4933350"/>
          <p:cNvSpPr>
            <a:spLocks noChangeAspect="1"/>
          </p:cNvSpPr>
          <p:nvPr/>
        </p:nvSpPr>
        <p:spPr bwMode="auto">
          <a:xfrm>
            <a:off x="4110087" y="4474469"/>
            <a:ext cx="609685" cy="609685"/>
          </a:xfrm>
          <a:custGeom>
            <a:avLst/>
            <a:gdLst>
              <a:gd name="T0" fmla="*/ 5400 w 10800"/>
              <a:gd name="T1" fmla="*/ 10800 h 10800"/>
              <a:gd name="T2" fmla="*/ 0 w 10800"/>
              <a:gd name="T3" fmla="*/ 5400 h 10800"/>
              <a:gd name="T4" fmla="*/ 5400 w 10800"/>
              <a:gd name="T5" fmla="*/ 0 h 10800"/>
              <a:gd name="T6" fmla="*/ 10800 w 10800"/>
              <a:gd name="T7" fmla="*/ 5400 h 10800"/>
              <a:gd name="T8" fmla="*/ 5400 w 10800"/>
              <a:gd name="T9" fmla="*/ 10800 h 10800"/>
              <a:gd name="T10" fmla="*/ 5400 w 10800"/>
              <a:gd name="T11" fmla="*/ 800 h 10800"/>
              <a:gd name="T12" fmla="*/ 800 w 10800"/>
              <a:gd name="T13" fmla="*/ 5400 h 10800"/>
              <a:gd name="T14" fmla="*/ 5400 w 10800"/>
              <a:gd name="T15" fmla="*/ 10000 h 10800"/>
              <a:gd name="T16" fmla="*/ 10000 w 10800"/>
              <a:gd name="T17" fmla="*/ 5400 h 10800"/>
              <a:gd name="T18" fmla="*/ 5400 w 10800"/>
              <a:gd name="T19" fmla="*/ 800 h 10800"/>
              <a:gd name="T20" fmla="*/ 7400 w 10800"/>
              <a:gd name="T21" fmla="*/ 5880 h 10800"/>
              <a:gd name="T22" fmla="*/ 5800 w 10800"/>
              <a:gd name="T23" fmla="*/ 5880 h 10800"/>
              <a:gd name="T24" fmla="*/ 5800 w 10800"/>
              <a:gd name="T25" fmla="*/ 5080 h 10800"/>
              <a:gd name="T26" fmla="*/ 7400 w 10800"/>
              <a:gd name="T27" fmla="*/ 5080 h 10800"/>
              <a:gd name="T28" fmla="*/ 7800 w 10800"/>
              <a:gd name="T29" fmla="*/ 4680 h 10800"/>
              <a:gd name="T30" fmla="*/ 7400 w 10800"/>
              <a:gd name="T31" fmla="*/ 4280 h 10800"/>
              <a:gd name="T32" fmla="*/ 6280 w 10800"/>
              <a:gd name="T33" fmla="*/ 4280 h 10800"/>
              <a:gd name="T34" fmla="*/ 7380 w 10800"/>
              <a:gd name="T35" fmla="*/ 3180 h 10800"/>
              <a:gd name="T36" fmla="*/ 7380 w 10800"/>
              <a:gd name="T37" fmla="*/ 2620 h 10800"/>
              <a:gd name="T38" fmla="*/ 6820 w 10800"/>
              <a:gd name="T39" fmla="*/ 2620 h 10800"/>
              <a:gd name="T40" fmla="*/ 5400 w 10800"/>
              <a:gd name="T41" fmla="*/ 4040 h 10800"/>
              <a:gd name="T42" fmla="*/ 3980 w 10800"/>
              <a:gd name="T43" fmla="*/ 2620 h 10800"/>
              <a:gd name="T44" fmla="*/ 3420 w 10800"/>
              <a:gd name="T45" fmla="*/ 2620 h 10800"/>
              <a:gd name="T46" fmla="*/ 3420 w 10800"/>
              <a:gd name="T47" fmla="*/ 3180 h 10800"/>
              <a:gd name="T48" fmla="*/ 4520 w 10800"/>
              <a:gd name="T49" fmla="*/ 4280 h 10800"/>
              <a:gd name="T50" fmla="*/ 3400 w 10800"/>
              <a:gd name="T51" fmla="*/ 4280 h 10800"/>
              <a:gd name="T52" fmla="*/ 3000 w 10800"/>
              <a:gd name="T53" fmla="*/ 4680 h 10800"/>
              <a:gd name="T54" fmla="*/ 3400 w 10800"/>
              <a:gd name="T55" fmla="*/ 5080 h 10800"/>
              <a:gd name="T56" fmla="*/ 5000 w 10800"/>
              <a:gd name="T57" fmla="*/ 5080 h 10800"/>
              <a:gd name="T58" fmla="*/ 5000 w 10800"/>
              <a:gd name="T59" fmla="*/ 5880 h 10800"/>
              <a:gd name="T60" fmla="*/ 3400 w 10800"/>
              <a:gd name="T61" fmla="*/ 5880 h 10800"/>
              <a:gd name="T62" fmla="*/ 3000 w 10800"/>
              <a:gd name="T63" fmla="*/ 6280 h 10800"/>
              <a:gd name="T64" fmla="*/ 3400 w 10800"/>
              <a:gd name="T65" fmla="*/ 6680 h 10800"/>
              <a:gd name="T66" fmla="*/ 5000 w 10800"/>
              <a:gd name="T67" fmla="*/ 6680 h 10800"/>
              <a:gd name="T68" fmla="*/ 5000 w 10800"/>
              <a:gd name="T69" fmla="*/ 8280 h 10800"/>
              <a:gd name="T70" fmla="*/ 5400 w 10800"/>
              <a:gd name="T71" fmla="*/ 8680 h 10800"/>
              <a:gd name="T72" fmla="*/ 5800 w 10800"/>
              <a:gd name="T73" fmla="*/ 8280 h 10800"/>
              <a:gd name="T74" fmla="*/ 5800 w 10800"/>
              <a:gd name="T75" fmla="*/ 6680 h 10800"/>
              <a:gd name="T76" fmla="*/ 7400 w 10800"/>
              <a:gd name="T77" fmla="*/ 6680 h 10800"/>
              <a:gd name="T78" fmla="*/ 7800 w 10800"/>
              <a:gd name="T79" fmla="*/ 6280 h 10800"/>
              <a:gd name="T80" fmla="*/ 7400 w 10800"/>
              <a:gd name="T81" fmla="*/ 5880 h 10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00" h="10800">
                <a:moveTo>
                  <a:pt x="5400" y="10800"/>
                </a:moveTo>
                <a:cubicBezTo>
                  <a:pt x="2420" y="10800"/>
                  <a:pt x="0" y="8380"/>
                  <a:pt x="0" y="5400"/>
                </a:cubicBezTo>
                <a:cubicBezTo>
                  <a:pt x="0" y="2420"/>
                  <a:pt x="2420" y="0"/>
                  <a:pt x="5400" y="0"/>
                </a:cubicBezTo>
                <a:cubicBezTo>
                  <a:pt x="8380" y="0"/>
                  <a:pt x="10800" y="2420"/>
                  <a:pt x="10800" y="5400"/>
                </a:cubicBezTo>
                <a:cubicBezTo>
                  <a:pt x="10800" y="8380"/>
                  <a:pt x="8380" y="10800"/>
                  <a:pt x="5400" y="10800"/>
                </a:cubicBezTo>
                <a:close/>
                <a:moveTo>
                  <a:pt x="5400" y="800"/>
                </a:moveTo>
                <a:cubicBezTo>
                  <a:pt x="2860" y="800"/>
                  <a:pt x="800" y="2860"/>
                  <a:pt x="800" y="5400"/>
                </a:cubicBezTo>
                <a:cubicBezTo>
                  <a:pt x="800" y="7940"/>
                  <a:pt x="2860" y="10000"/>
                  <a:pt x="5400" y="10000"/>
                </a:cubicBezTo>
                <a:cubicBezTo>
                  <a:pt x="7940" y="10000"/>
                  <a:pt x="10000" y="7940"/>
                  <a:pt x="10000" y="5400"/>
                </a:cubicBezTo>
                <a:cubicBezTo>
                  <a:pt x="10000" y="2860"/>
                  <a:pt x="7940" y="800"/>
                  <a:pt x="5400" y="800"/>
                </a:cubicBezTo>
                <a:close/>
                <a:moveTo>
                  <a:pt x="7400" y="5880"/>
                </a:moveTo>
                <a:lnTo>
                  <a:pt x="5800" y="5880"/>
                </a:lnTo>
                <a:lnTo>
                  <a:pt x="5800" y="5080"/>
                </a:lnTo>
                <a:lnTo>
                  <a:pt x="7400" y="5080"/>
                </a:lnTo>
                <a:cubicBezTo>
                  <a:pt x="7620" y="5080"/>
                  <a:pt x="7800" y="4900"/>
                  <a:pt x="7800" y="4680"/>
                </a:cubicBezTo>
                <a:cubicBezTo>
                  <a:pt x="7800" y="4460"/>
                  <a:pt x="7620" y="4280"/>
                  <a:pt x="7400" y="4280"/>
                </a:cubicBezTo>
                <a:lnTo>
                  <a:pt x="6280" y="4280"/>
                </a:lnTo>
                <a:lnTo>
                  <a:pt x="7380" y="3180"/>
                </a:lnTo>
                <a:cubicBezTo>
                  <a:pt x="7540" y="3020"/>
                  <a:pt x="7540" y="2780"/>
                  <a:pt x="7380" y="2620"/>
                </a:cubicBezTo>
                <a:cubicBezTo>
                  <a:pt x="7220" y="2460"/>
                  <a:pt x="6980" y="2460"/>
                  <a:pt x="6820" y="2620"/>
                </a:cubicBezTo>
                <a:lnTo>
                  <a:pt x="5400" y="4040"/>
                </a:lnTo>
                <a:lnTo>
                  <a:pt x="3980" y="2620"/>
                </a:lnTo>
                <a:cubicBezTo>
                  <a:pt x="3820" y="2460"/>
                  <a:pt x="3580" y="2460"/>
                  <a:pt x="3420" y="2620"/>
                </a:cubicBezTo>
                <a:cubicBezTo>
                  <a:pt x="3260" y="2780"/>
                  <a:pt x="3260" y="3020"/>
                  <a:pt x="3420" y="3180"/>
                </a:cubicBezTo>
                <a:lnTo>
                  <a:pt x="4520" y="4280"/>
                </a:lnTo>
                <a:lnTo>
                  <a:pt x="3400" y="4280"/>
                </a:lnTo>
                <a:cubicBezTo>
                  <a:pt x="3180" y="4280"/>
                  <a:pt x="3000" y="4460"/>
                  <a:pt x="3000" y="4680"/>
                </a:cubicBezTo>
                <a:cubicBezTo>
                  <a:pt x="3000" y="4900"/>
                  <a:pt x="3180" y="5080"/>
                  <a:pt x="3400" y="5080"/>
                </a:cubicBezTo>
                <a:lnTo>
                  <a:pt x="5000" y="5080"/>
                </a:lnTo>
                <a:lnTo>
                  <a:pt x="5000" y="5880"/>
                </a:lnTo>
                <a:lnTo>
                  <a:pt x="3400" y="5880"/>
                </a:lnTo>
                <a:cubicBezTo>
                  <a:pt x="3180" y="5880"/>
                  <a:pt x="3000" y="6060"/>
                  <a:pt x="3000" y="6280"/>
                </a:cubicBezTo>
                <a:cubicBezTo>
                  <a:pt x="3000" y="6500"/>
                  <a:pt x="3180" y="6680"/>
                  <a:pt x="3400" y="6680"/>
                </a:cubicBezTo>
                <a:lnTo>
                  <a:pt x="5000" y="6680"/>
                </a:lnTo>
                <a:lnTo>
                  <a:pt x="5000" y="8280"/>
                </a:lnTo>
                <a:cubicBezTo>
                  <a:pt x="5000" y="8500"/>
                  <a:pt x="5180" y="8680"/>
                  <a:pt x="5400" y="8680"/>
                </a:cubicBezTo>
                <a:cubicBezTo>
                  <a:pt x="5620" y="8680"/>
                  <a:pt x="5800" y="8500"/>
                  <a:pt x="5800" y="8280"/>
                </a:cubicBezTo>
                <a:lnTo>
                  <a:pt x="5800" y="6680"/>
                </a:lnTo>
                <a:lnTo>
                  <a:pt x="7400" y="6680"/>
                </a:lnTo>
                <a:cubicBezTo>
                  <a:pt x="7620" y="6680"/>
                  <a:pt x="7800" y="6500"/>
                  <a:pt x="7800" y="6280"/>
                </a:cubicBezTo>
                <a:cubicBezTo>
                  <a:pt x="7800" y="6060"/>
                  <a:pt x="7620" y="5880"/>
                  <a:pt x="7400" y="5880"/>
                </a:cubicBezTo>
                <a:close/>
              </a:path>
            </a:pathLst>
          </a:custGeom>
          <a:solidFill>
            <a:schemeClr val="bg1"/>
          </a:solidFill>
          <a:ln>
            <a:noFill/>
          </a:ln>
        </p:spPr>
      </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en-US" altLang="zh-CN" sz="3200">
                <a:solidFill>
                  <a:schemeClr val="tx1">
                    <a:lumMod val="75000"/>
                    <a:lumOff val="25000"/>
                  </a:schemeClr>
                </a:solidFill>
                <a:latin typeface="站酷快乐体" panose="02010600030101010101" charset="-128"/>
                <a:ea typeface="站酷快乐体" panose="02010600030101010101" charset="-128"/>
              </a:rPr>
              <a:t>ER</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9" name="矩形 38"/>
          <p:cNvSpPr/>
          <p:nvPr/>
        </p:nvSpPr>
        <p:spPr>
          <a:xfrm>
            <a:off x="494030" y="1210945"/>
            <a:ext cx="723900" cy="2566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数据字典运用</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2" name="图片 1" descr="字典"/>
          <p:cNvPicPr>
            <a:picLocks noChangeAspect="1"/>
          </p:cNvPicPr>
          <p:nvPr/>
        </p:nvPicPr>
        <p:blipFill>
          <a:blip r:embed="rId1"/>
          <a:stretch>
            <a:fillRect/>
          </a:stretch>
        </p:blipFill>
        <p:spPr>
          <a:xfrm>
            <a:off x="1610360" y="516255"/>
            <a:ext cx="9975215" cy="562229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482600" y="1594485"/>
            <a:ext cx="7680325" cy="4257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9" name="文本框 8"/>
          <p:cNvSpPr txBox="1"/>
          <p:nvPr/>
        </p:nvSpPr>
        <p:spPr>
          <a:xfrm>
            <a:off x="687070" y="1868805"/>
            <a:ext cx="7272020" cy="3538220"/>
          </a:xfrm>
          <a:prstGeom prst="rect">
            <a:avLst/>
          </a:prstGeom>
          <a:noFill/>
        </p:spPr>
        <p:txBody>
          <a:bodyPr wrap="square" rtlCol="0">
            <a:spAutoFit/>
          </a:bodyPr>
          <a:lstStyle/>
          <a:p>
            <a:pPr>
              <a:lnSpc>
                <a:spcPct val="200000"/>
              </a:lnSpc>
            </a:pPr>
            <a:r>
              <a:rPr sz="1600" dirty="0">
                <a:latin typeface="站酷快乐体" panose="02010600030101010101" charset="-128"/>
                <a:ea typeface="站酷快乐体" panose="02010600030101010101" charset="-128"/>
                <a:cs typeface="站酷快乐体" panose="02010600030101010101" charset="-128"/>
                <a:sym typeface="+mn-lt"/>
              </a:rPr>
              <a:t>(</a:t>
            </a:r>
            <a:r>
              <a:rPr lang="en-US" sz="1600" dirty="0">
                <a:latin typeface="站酷快乐体" panose="02010600030101010101" charset="-128"/>
                <a:ea typeface="站酷快乐体" panose="02010600030101010101" charset="-128"/>
                <a:cs typeface="站酷快乐体" panose="02010600030101010101" charset="-128"/>
                <a:sym typeface="+mn-lt"/>
              </a:rPr>
              <a:t>2</a:t>
            </a:r>
            <a:r>
              <a:rPr sz="1600" dirty="0">
                <a:latin typeface="站酷快乐体" panose="02010600030101010101" charset="-128"/>
                <a:ea typeface="站酷快乐体" panose="02010600030101010101" charset="-128"/>
                <a:cs typeface="站酷快乐体" panose="02010600030101010101" charset="-128"/>
                <a:sym typeface="+mn-lt"/>
              </a:rPr>
              <a:t>)</a:t>
            </a:r>
            <a:r>
              <a:rPr sz="1600" dirty="0">
                <a:latin typeface="站酷快乐体" panose="02010600030101010101" charset="-128"/>
                <a:ea typeface="站酷快乐体" panose="02010600030101010101" charset="-128"/>
                <a:cs typeface="站酷快乐体" panose="02010600030101010101" charset="-128"/>
                <a:sym typeface="+mn-lt"/>
              </a:rPr>
              <a:t>数据加密主要方式为:</a:t>
            </a:r>
            <a:endParaRPr sz="1600" dirty="0">
              <a:latin typeface="站酷快乐体" panose="02010600030101010101" charset="-128"/>
              <a:ea typeface="站酷快乐体" panose="02010600030101010101" charset="-128"/>
              <a:cs typeface="站酷快乐体" panose="02010600030101010101" charset="-128"/>
              <a:sym typeface="+mn-lt"/>
            </a:endParaRPr>
          </a:p>
          <a:p>
            <a:pPr>
              <a:lnSpc>
                <a:spcPct val="200000"/>
              </a:lnSpc>
            </a:pPr>
            <a:r>
              <a:rPr sz="1600" dirty="0">
                <a:latin typeface="站酷快乐体" panose="02010600030101010101" charset="-128"/>
                <a:ea typeface="站酷快乐体" panose="02010600030101010101" charset="-128"/>
                <a:cs typeface="站酷快乐体" panose="02010600030101010101" charset="-128"/>
                <a:sym typeface="+mn-lt"/>
              </a:rPr>
              <a:t>某些用户可能非法获取用户名、口令字，或利用其他方法越权使用数据库，甚至直接窃取或篡改数据库信息。因此，有必要对数据库中存储的重要数据进行加密处理，安全保护存储数据。数据加密就是将明文数据M经过一定的交换变成密文数据c，解密是加密的逆过程。数据库密码系统要求将M加密成c，c存储到数据库中，查询时将c取出解密得到Nl。数据库数据加/解密处理过程,基于密钥的算法通常有两类:对称加密算法和公开密钥算法(又称非对称加密算法)。</a:t>
            </a:r>
            <a:endParaRPr sz="1600" dirty="0">
              <a:latin typeface="站酷快乐体" panose="02010600030101010101" charset="-128"/>
              <a:ea typeface="站酷快乐体" panose="02010600030101010101" charset="-128"/>
              <a:cs typeface="站酷快乐体" panose="02010600030101010101" charset="-128"/>
              <a:sym typeface="+mn-lt"/>
            </a:endParaRPr>
          </a:p>
        </p:txBody>
      </p:sp>
      <p:sp>
        <p:nvSpPr>
          <p:cNvPr id="7" name="矩形 6"/>
          <p:cNvSpPr/>
          <p:nvPr/>
        </p:nvSpPr>
        <p:spPr>
          <a:xfrm>
            <a:off x="7140575" y="776605"/>
            <a:ext cx="4675505" cy="17233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8" name="文本框 7"/>
          <p:cNvSpPr txBox="1"/>
          <p:nvPr/>
        </p:nvSpPr>
        <p:spPr>
          <a:xfrm>
            <a:off x="7549515" y="1287780"/>
            <a:ext cx="3856990" cy="700405"/>
          </a:xfrm>
          <a:prstGeom prst="rect">
            <a:avLst/>
          </a:prstGeom>
          <a:noFill/>
        </p:spPr>
        <p:txBody>
          <a:bodyPr wrap="square" rtlCol="0">
            <a:spAutoFit/>
          </a:bodyPr>
          <a:lstStyle/>
          <a:p>
            <a:pPr>
              <a:lnSpc>
                <a:spcPct val="110000"/>
              </a:lnSpc>
            </a:pPr>
            <a:r>
              <a:rPr dirty="0">
                <a:latin typeface="站酷快乐体" panose="02010600030101010101" charset="-128"/>
                <a:ea typeface="站酷快乐体" panose="02010600030101010101" charset="-128"/>
                <a:cs typeface="站酷快乐体" panose="02010600030101010101" charset="-128"/>
                <a:sym typeface="+mn-lt"/>
              </a:rPr>
              <a:t>(1)数据加密处理机制主要对个人密码进行加密处理。</a:t>
            </a:r>
            <a:endParaRPr lang="en-US" altLang="zh-CN" dirty="0">
              <a:latin typeface="站酷快乐体" panose="02010600030101010101" charset="-128"/>
              <a:ea typeface="站酷快乐体" panose="02010600030101010101" charset="-128"/>
              <a:cs typeface="站酷快乐体" panose="02010600030101010101" charset="-128"/>
              <a:sym typeface="+mn-lt"/>
            </a:endParaRPr>
          </a:p>
        </p:txBody>
      </p:sp>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安全保密</a:t>
            </a:r>
            <a:r>
              <a:rPr lang="zh-CN" altLang="en-US" sz="3200">
                <a:solidFill>
                  <a:schemeClr val="tx1">
                    <a:lumMod val="75000"/>
                    <a:lumOff val="25000"/>
                  </a:schemeClr>
                </a:solidFill>
                <a:latin typeface="站酷快乐体" panose="02010600030101010101" charset="-128"/>
                <a:ea typeface="站酷快乐体" panose="02010600030101010101" charset="-128"/>
              </a:rPr>
              <a:t>设计</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bldLst>
      <p:bldP spid="9" grpId="0"/>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1797141"/>
            <a:ext cx="12192000" cy="3263718"/>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rot="18900000">
            <a:off x="5154557" y="1936338"/>
            <a:ext cx="2985324" cy="2985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18900000">
            <a:off x="3585301" y="3886003"/>
            <a:ext cx="1724108" cy="1724108"/>
          </a:xfrm>
          <a:prstGeom prst="rect">
            <a:avLst/>
          </a:prstGeom>
          <a:solidFill>
            <a:schemeClr val="accent1"/>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18900000">
            <a:off x="2273566" y="2581459"/>
            <a:ext cx="1724108" cy="1724108"/>
          </a:xfrm>
          <a:prstGeom prst="rect">
            <a:avLst/>
          </a:prstGeom>
          <a:solidFill>
            <a:schemeClr val="accent3"/>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18900000">
            <a:off x="3582373" y="1249635"/>
            <a:ext cx="1724108" cy="1724108"/>
          </a:xfrm>
          <a:prstGeom prst="rect">
            <a:avLst/>
          </a:prstGeom>
          <a:solidFill>
            <a:schemeClr val="accent2"/>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文本框 12"/>
          <p:cNvSpPr txBox="1"/>
          <p:nvPr/>
        </p:nvSpPr>
        <p:spPr>
          <a:xfrm>
            <a:off x="5946925" y="2327699"/>
            <a:ext cx="1207454" cy="1003102"/>
          </a:xfrm>
          <a:prstGeom prst="rect">
            <a:avLst/>
          </a:prstGeom>
          <a:noFill/>
          <a:ln w="117475">
            <a:noFill/>
          </a:ln>
        </p:spPr>
        <p:txBody>
          <a:bodyPr wrap="none" rtlCol="0">
            <a:prstTxWarp prst="textPlain">
              <a:avLst/>
            </a:prstTxWarp>
            <a:spAutoFit/>
          </a:bodyPr>
          <a:lstStyle/>
          <a:p>
            <a:r>
              <a:rPr lang="en-US" altLang="zh-CN"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6</a:t>
            </a:r>
            <a:endParaRPr lang="zh-CN" altLang="en-US"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
        <p:nvSpPr>
          <p:cNvPr id="15" name="矩形 14"/>
          <p:cNvSpPr/>
          <p:nvPr/>
        </p:nvSpPr>
        <p:spPr>
          <a:xfrm>
            <a:off x="5133975" y="3331210"/>
            <a:ext cx="3027680" cy="1568450"/>
          </a:xfrm>
          <a:prstGeom prst="rect">
            <a:avLst/>
          </a:prstGeom>
        </p:spPr>
        <p:txBody>
          <a:bodyPr wrap="square">
            <a:spAutoFit/>
          </a:bodyPr>
          <a:lstStyle/>
          <a:p>
            <a:pPr algn="ctr">
              <a:spcBef>
                <a:spcPct val="0"/>
              </a:spcBef>
            </a:pPr>
            <a:r>
              <a:rPr lang="zh-CN" altLang="en-US" sz="3200" dirty="0">
                <a:latin typeface="站酷快乐体" panose="02010600030101010101" charset="-128"/>
                <a:ea typeface="站酷快乐体" panose="02010600030101010101" charset="-128"/>
                <a:sym typeface="思源黑体" panose="020B0400000000000000" pitchFamily="34" charset="-122"/>
              </a:rPr>
              <a:t>预期开发计划时间和分工安排</a:t>
            </a:r>
            <a:endParaRPr lang="zh-CN" altLang="en-US" sz="3200" dirty="0">
              <a:latin typeface="站酷快乐体" panose="02010600030101010101" charset="-128"/>
              <a:ea typeface="站酷快乐体" panose="02010600030101010101" charset="-128"/>
              <a:sym typeface="思源黑体" panose="020B0400000000000000" pitchFamily="34" charset="-122"/>
            </a:endParaRPr>
          </a:p>
          <a:p>
            <a:pPr algn="ctr">
              <a:spcBef>
                <a:spcPct val="0"/>
              </a:spcBef>
            </a:pPr>
            <a:endParaRPr lang="zh-CN" altLang="en-US" sz="3200" dirty="0">
              <a:solidFill>
                <a:schemeClr val="tx1">
                  <a:lumMod val="75000"/>
                  <a:lumOff val="25000"/>
                </a:schemeClr>
              </a:solidFill>
              <a:latin typeface="汉仪粗圆简" panose="02010600000101010101" charset="-122"/>
              <a:ea typeface="汉仪粗圆简" panose="02010600000101010101" charset="-122"/>
            </a:endParaRPr>
          </a:p>
        </p:txBody>
      </p:sp>
      <p:grpSp>
        <p:nvGrpSpPr>
          <p:cNvPr id="5" name="组合 4"/>
          <p:cNvGrpSpPr/>
          <p:nvPr/>
        </p:nvGrpSpPr>
        <p:grpSpPr>
          <a:xfrm>
            <a:off x="4612405" y="1091381"/>
            <a:ext cx="4069626" cy="4599650"/>
            <a:chOff x="5550217" y="1317873"/>
            <a:chExt cx="3668840" cy="4146666"/>
          </a:xfrm>
        </p:grpSpPr>
        <p:sp>
          <p:nvSpPr>
            <p:cNvPr id="16" name="矩形 22"/>
            <p:cNvSpPr/>
            <p:nvPr/>
          </p:nvSpPr>
          <p:spPr>
            <a:xfrm rot="18900000" flipV="1">
              <a:off x="5550217" y="1317873"/>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22"/>
            <p:cNvSpPr/>
            <p:nvPr/>
          </p:nvSpPr>
          <p:spPr>
            <a:xfrm rot="2700000">
              <a:off x="5550217" y="1795699"/>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8" name="iconfont-10459-4813179"/>
          <p:cNvSpPr>
            <a:spLocks noChangeAspect="1"/>
          </p:cNvSpPr>
          <p:nvPr/>
        </p:nvSpPr>
        <p:spPr bwMode="auto">
          <a:xfrm>
            <a:off x="4231433" y="1797141"/>
            <a:ext cx="609685" cy="600087"/>
          </a:xfrm>
          <a:custGeom>
            <a:avLst/>
            <a:gdLst>
              <a:gd name="T0" fmla="*/ 5779 w 11379"/>
              <a:gd name="T1" fmla="*/ 0 h 11200"/>
              <a:gd name="T2" fmla="*/ 711 w 11379"/>
              <a:gd name="T3" fmla="*/ 3215 h 11200"/>
              <a:gd name="T4" fmla="*/ 711 w 11379"/>
              <a:gd name="T5" fmla="*/ 7985 h 11200"/>
              <a:gd name="T6" fmla="*/ 5779 w 11379"/>
              <a:gd name="T7" fmla="*/ 11200 h 11200"/>
              <a:gd name="T8" fmla="*/ 11379 w 11379"/>
              <a:gd name="T9" fmla="*/ 5600 h 11200"/>
              <a:gd name="T10" fmla="*/ 5779 w 11379"/>
              <a:gd name="T11" fmla="*/ 0 h 11200"/>
              <a:gd name="T12" fmla="*/ 979 w 11379"/>
              <a:gd name="T13" fmla="*/ 5600 h 11200"/>
              <a:gd name="T14" fmla="*/ 1244 w 11379"/>
              <a:gd name="T15" fmla="*/ 4022 h 11200"/>
              <a:gd name="T16" fmla="*/ 2581 w 11379"/>
              <a:gd name="T17" fmla="*/ 5600 h 11200"/>
              <a:gd name="T18" fmla="*/ 1244 w 11379"/>
              <a:gd name="T19" fmla="*/ 7178 h 11200"/>
              <a:gd name="T20" fmla="*/ 979 w 11379"/>
              <a:gd name="T21" fmla="*/ 5600 h 11200"/>
              <a:gd name="T22" fmla="*/ 9173 w 11379"/>
              <a:gd name="T23" fmla="*/ 8994 h 11200"/>
              <a:gd name="T24" fmla="*/ 5109 w 11379"/>
              <a:gd name="T25" fmla="*/ 10352 h 11200"/>
              <a:gd name="T26" fmla="*/ 1578 w 11379"/>
              <a:gd name="T27" fmla="*/ 7925 h 11200"/>
              <a:gd name="T28" fmla="*/ 3379 w 11379"/>
              <a:gd name="T29" fmla="*/ 5600 h 11200"/>
              <a:gd name="T30" fmla="*/ 1578 w 11379"/>
              <a:gd name="T31" fmla="*/ 3276 h 11200"/>
              <a:gd name="T32" fmla="*/ 4778 w 11379"/>
              <a:gd name="T33" fmla="*/ 901 h 11200"/>
              <a:gd name="T34" fmla="*/ 8669 w 11379"/>
              <a:gd name="T35" fmla="*/ 1761 h 11200"/>
              <a:gd name="T36" fmla="*/ 10571 w 11379"/>
              <a:gd name="T37" fmla="*/ 5263 h 11200"/>
              <a:gd name="T38" fmla="*/ 9173 w 11379"/>
              <a:gd name="T39" fmla="*/ 8994 h 11200"/>
              <a:gd name="T40" fmla="*/ 10179 w 11379"/>
              <a:gd name="T41" fmla="*/ 2400 h 11200"/>
              <a:gd name="T42" fmla="*/ 1379 w 11379"/>
              <a:gd name="T43" fmla="*/ 2400 h 11200"/>
              <a:gd name="T44" fmla="*/ 1379 w 11379"/>
              <a:gd name="T45" fmla="*/ 3200 h 11200"/>
              <a:gd name="T46" fmla="*/ 10179 w 11379"/>
              <a:gd name="T47" fmla="*/ 3200 h 11200"/>
              <a:gd name="T48" fmla="*/ 10179 w 11379"/>
              <a:gd name="T49" fmla="*/ 2400 h 11200"/>
              <a:gd name="T50" fmla="*/ 10179 w 11379"/>
              <a:gd name="T51" fmla="*/ 8000 h 11200"/>
              <a:gd name="T52" fmla="*/ 1379 w 11379"/>
              <a:gd name="T53" fmla="*/ 8000 h 11200"/>
              <a:gd name="T54" fmla="*/ 1379 w 11379"/>
              <a:gd name="T55" fmla="*/ 8800 h 11200"/>
              <a:gd name="T56" fmla="*/ 10179 w 11379"/>
              <a:gd name="T57" fmla="*/ 8800 h 11200"/>
              <a:gd name="T58" fmla="*/ 10179 w 11379"/>
              <a:gd name="T59" fmla="*/ 8000 h 11200"/>
              <a:gd name="T60" fmla="*/ 5379 w 11379"/>
              <a:gd name="T61" fmla="*/ 3600 h 11200"/>
              <a:gd name="T62" fmla="*/ 3779 w 11379"/>
              <a:gd name="T63" fmla="*/ 3600 h 11200"/>
              <a:gd name="T64" fmla="*/ 3779 w 11379"/>
              <a:gd name="T65" fmla="*/ 5200 h 11200"/>
              <a:gd name="T66" fmla="*/ 5379 w 11379"/>
              <a:gd name="T67" fmla="*/ 5200 h 11200"/>
              <a:gd name="T68" fmla="*/ 5379 w 11379"/>
              <a:gd name="T69" fmla="*/ 3600 h 11200"/>
              <a:gd name="T70" fmla="*/ 5379 w 11379"/>
              <a:gd name="T71" fmla="*/ 6000 h 11200"/>
              <a:gd name="T72" fmla="*/ 3779 w 11379"/>
              <a:gd name="T73" fmla="*/ 6000 h 11200"/>
              <a:gd name="T74" fmla="*/ 3779 w 11379"/>
              <a:gd name="T75" fmla="*/ 7600 h 11200"/>
              <a:gd name="T76" fmla="*/ 5379 w 11379"/>
              <a:gd name="T77" fmla="*/ 7600 h 11200"/>
              <a:gd name="T78" fmla="*/ 5379 w 11379"/>
              <a:gd name="T79" fmla="*/ 6000 h 11200"/>
              <a:gd name="T80" fmla="*/ 7379 w 11379"/>
              <a:gd name="T81" fmla="*/ 3600 h 11200"/>
              <a:gd name="T82" fmla="*/ 5779 w 11379"/>
              <a:gd name="T83" fmla="*/ 3600 h 11200"/>
              <a:gd name="T84" fmla="*/ 5779 w 11379"/>
              <a:gd name="T85" fmla="*/ 5200 h 11200"/>
              <a:gd name="T86" fmla="*/ 7379 w 11379"/>
              <a:gd name="T87" fmla="*/ 5200 h 11200"/>
              <a:gd name="T88" fmla="*/ 7379 w 11379"/>
              <a:gd name="T89" fmla="*/ 3600 h 11200"/>
              <a:gd name="T90" fmla="*/ 7379 w 11379"/>
              <a:gd name="T91" fmla="*/ 6000 h 11200"/>
              <a:gd name="T92" fmla="*/ 5779 w 11379"/>
              <a:gd name="T93" fmla="*/ 6000 h 11200"/>
              <a:gd name="T94" fmla="*/ 5779 w 11379"/>
              <a:gd name="T95" fmla="*/ 7600 h 11200"/>
              <a:gd name="T96" fmla="*/ 7379 w 11379"/>
              <a:gd name="T97" fmla="*/ 7600 h 11200"/>
              <a:gd name="T98" fmla="*/ 7379 w 11379"/>
              <a:gd name="T99" fmla="*/ 6000 h 11200"/>
              <a:gd name="T100" fmla="*/ 9379 w 11379"/>
              <a:gd name="T101" fmla="*/ 3600 h 11200"/>
              <a:gd name="T102" fmla="*/ 7779 w 11379"/>
              <a:gd name="T103" fmla="*/ 3600 h 11200"/>
              <a:gd name="T104" fmla="*/ 7779 w 11379"/>
              <a:gd name="T105" fmla="*/ 5200 h 11200"/>
              <a:gd name="T106" fmla="*/ 9379 w 11379"/>
              <a:gd name="T107" fmla="*/ 5200 h 11200"/>
              <a:gd name="T108" fmla="*/ 9379 w 11379"/>
              <a:gd name="T109" fmla="*/ 3600 h 11200"/>
              <a:gd name="T110" fmla="*/ 9379 w 11379"/>
              <a:gd name="T111" fmla="*/ 6000 h 11200"/>
              <a:gd name="T112" fmla="*/ 7779 w 11379"/>
              <a:gd name="T113" fmla="*/ 6000 h 11200"/>
              <a:gd name="T114" fmla="*/ 7779 w 11379"/>
              <a:gd name="T115" fmla="*/ 7600 h 11200"/>
              <a:gd name="T116" fmla="*/ 9379 w 11379"/>
              <a:gd name="T117" fmla="*/ 7600 h 11200"/>
              <a:gd name="T118" fmla="*/ 9379 w 11379"/>
              <a:gd name="T119" fmla="*/ 60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9" h="11200">
                <a:moveTo>
                  <a:pt x="5779" y="0"/>
                </a:moveTo>
                <a:cubicBezTo>
                  <a:pt x="3539" y="0"/>
                  <a:pt x="1607" y="1315"/>
                  <a:pt x="711" y="3215"/>
                </a:cubicBezTo>
                <a:cubicBezTo>
                  <a:pt x="0" y="4726"/>
                  <a:pt x="0" y="6474"/>
                  <a:pt x="711" y="7985"/>
                </a:cubicBezTo>
                <a:cubicBezTo>
                  <a:pt x="1607" y="9885"/>
                  <a:pt x="3539" y="11200"/>
                  <a:pt x="5779" y="11200"/>
                </a:cubicBezTo>
                <a:cubicBezTo>
                  <a:pt x="8872" y="11200"/>
                  <a:pt x="11379" y="8693"/>
                  <a:pt x="11379" y="5600"/>
                </a:cubicBezTo>
                <a:cubicBezTo>
                  <a:pt x="11379" y="2507"/>
                  <a:pt x="8872" y="0"/>
                  <a:pt x="5779" y="0"/>
                </a:cubicBezTo>
                <a:close/>
                <a:moveTo>
                  <a:pt x="979" y="5600"/>
                </a:moveTo>
                <a:cubicBezTo>
                  <a:pt x="978" y="5063"/>
                  <a:pt x="1068" y="4529"/>
                  <a:pt x="1244" y="4022"/>
                </a:cubicBezTo>
                <a:cubicBezTo>
                  <a:pt x="2016" y="4151"/>
                  <a:pt x="2581" y="4818"/>
                  <a:pt x="2581" y="5600"/>
                </a:cubicBezTo>
                <a:cubicBezTo>
                  <a:pt x="2581" y="6382"/>
                  <a:pt x="2016" y="7050"/>
                  <a:pt x="1244" y="7178"/>
                </a:cubicBezTo>
                <a:cubicBezTo>
                  <a:pt x="1068" y="6671"/>
                  <a:pt x="978" y="6137"/>
                  <a:pt x="979" y="5600"/>
                </a:cubicBezTo>
                <a:close/>
                <a:moveTo>
                  <a:pt x="9173" y="8994"/>
                </a:moveTo>
                <a:cubicBezTo>
                  <a:pt x="8107" y="10059"/>
                  <a:pt x="6602" y="10562"/>
                  <a:pt x="5109" y="10352"/>
                </a:cubicBezTo>
                <a:cubicBezTo>
                  <a:pt x="3617" y="10142"/>
                  <a:pt x="2309" y="9243"/>
                  <a:pt x="1578" y="7925"/>
                </a:cubicBezTo>
                <a:cubicBezTo>
                  <a:pt x="2638" y="7651"/>
                  <a:pt x="3379" y="6695"/>
                  <a:pt x="3379" y="5600"/>
                </a:cubicBezTo>
                <a:cubicBezTo>
                  <a:pt x="3379" y="4506"/>
                  <a:pt x="2638" y="3549"/>
                  <a:pt x="1578" y="3276"/>
                </a:cubicBezTo>
                <a:cubicBezTo>
                  <a:pt x="2251" y="2058"/>
                  <a:pt x="3418" y="1192"/>
                  <a:pt x="4778" y="901"/>
                </a:cubicBezTo>
                <a:cubicBezTo>
                  <a:pt x="6138" y="611"/>
                  <a:pt x="7558" y="924"/>
                  <a:pt x="8669" y="1761"/>
                </a:cubicBezTo>
                <a:cubicBezTo>
                  <a:pt x="9780" y="2598"/>
                  <a:pt x="10474" y="3875"/>
                  <a:pt x="10571" y="5263"/>
                </a:cubicBezTo>
                <a:cubicBezTo>
                  <a:pt x="10667" y="6650"/>
                  <a:pt x="10157" y="8011"/>
                  <a:pt x="9173" y="8994"/>
                </a:cubicBezTo>
                <a:close/>
                <a:moveTo>
                  <a:pt x="10179" y="2400"/>
                </a:moveTo>
                <a:lnTo>
                  <a:pt x="1379" y="2400"/>
                </a:lnTo>
                <a:lnTo>
                  <a:pt x="1379" y="3200"/>
                </a:lnTo>
                <a:lnTo>
                  <a:pt x="10179" y="3200"/>
                </a:lnTo>
                <a:lnTo>
                  <a:pt x="10179" y="2400"/>
                </a:lnTo>
                <a:close/>
                <a:moveTo>
                  <a:pt x="10179" y="8000"/>
                </a:moveTo>
                <a:lnTo>
                  <a:pt x="1379" y="8000"/>
                </a:lnTo>
                <a:lnTo>
                  <a:pt x="1379" y="8800"/>
                </a:lnTo>
                <a:lnTo>
                  <a:pt x="10179" y="8800"/>
                </a:lnTo>
                <a:lnTo>
                  <a:pt x="10179" y="8000"/>
                </a:lnTo>
                <a:close/>
                <a:moveTo>
                  <a:pt x="5379" y="3600"/>
                </a:moveTo>
                <a:lnTo>
                  <a:pt x="3779" y="3600"/>
                </a:lnTo>
                <a:lnTo>
                  <a:pt x="3779" y="5200"/>
                </a:lnTo>
                <a:lnTo>
                  <a:pt x="5379" y="5200"/>
                </a:lnTo>
                <a:lnTo>
                  <a:pt x="5379" y="3600"/>
                </a:lnTo>
                <a:close/>
                <a:moveTo>
                  <a:pt x="5379" y="6000"/>
                </a:moveTo>
                <a:lnTo>
                  <a:pt x="3779" y="6000"/>
                </a:lnTo>
                <a:lnTo>
                  <a:pt x="3779" y="7600"/>
                </a:lnTo>
                <a:lnTo>
                  <a:pt x="5379" y="7600"/>
                </a:lnTo>
                <a:lnTo>
                  <a:pt x="5379" y="6000"/>
                </a:lnTo>
                <a:close/>
                <a:moveTo>
                  <a:pt x="7379" y="3600"/>
                </a:moveTo>
                <a:lnTo>
                  <a:pt x="5779" y="3600"/>
                </a:lnTo>
                <a:lnTo>
                  <a:pt x="5779" y="5200"/>
                </a:lnTo>
                <a:lnTo>
                  <a:pt x="7379" y="5200"/>
                </a:lnTo>
                <a:lnTo>
                  <a:pt x="7379" y="3600"/>
                </a:lnTo>
                <a:close/>
                <a:moveTo>
                  <a:pt x="7379" y="6000"/>
                </a:moveTo>
                <a:lnTo>
                  <a:pt x="5779" y="6000"/>
                </a:lnTo>
                <a:lnTo>
                  <a:pt x="5779" y="7600"/>
                </a:lnTo>
                <a:lnTo>
                  <a:pt x="7379" y="7600"/>
                </a:lnTo>
                <a:lnTo>
                  <a:pt x="7379" y="6000"/>
                </a:lnTo>
                <a:close/>
                <a:moveTo>
                  <a:pt x="9379" y="3600"/>
                </a:moveTo>
                <a:lnTo>
                  <a:pt x="7779" y="3600"/>
                </a:lnTo>
                <a:lnTo>
                  <a:pt x="7779" y="5200"/>
                </a:lnTo>
                <a:lnTo>
                  <a:pt x="9379" y="5200"/>
                </a:lnTo>
                <a:lnTo>
                  <a:pt x="9379" y="3600"/>
                </a:lnTo>
                <a:close/>
                <a:moveTo>
                  <a:pt x="9379" y="6000"/>
                </a:moveTo>
                <a:lnTo>
                  <a:pt x="7779" y="6000"/>
                </a:lnTo>
                <a:lnTo>
                  <a:pt x="7779" y="7600"/>
                </a:lnTo>
                <a:lnTo>
                  <a:pt x="9379" y="7600"/>
                </a:lnTo>
                <a:lnTo>
                  <a:pt x="9379" y="6000"/>
                </a:lnTo>
                <a:close/>
              </a:path>
            </a:pathLst>
          </a:custGeom>
          <a:solidFill>
            <a:schemeClr val="bg1"/>
          </a:solidFill>
          <a:ln>
            <a:noFill/>
          </a:ln>
        </p:spPr>
      </p:sp>
      <p:sp>
        <p:nvSpPr>
          <p:cNvPr id="19" name="iconfont-10459-4813181"/>
          <p:cNvSpPr>
            <a:spLocks noChangeAspect="1"/>
          </p:cNvSpPr>
          <p:nvPr/>
        </p:nvSpPr>
        <p:spPr bwMode="auto">
          <a:xfrm>
            <a:off x="2864696" y="3215149"/>
            <a:ext cx="609685" cy="597919"/>
          </a:xfrm>
          <a:custGeom>
            <a:avLst/>
            <a:gdLst>
              <a:gd name="T0" fmla="*/ 8480 w 11552"/>
              <a:gd name="T1" fmla="*/ 5776 h 11328"/>
              <a:gd name="T2" fmla="*/ 7632 w 11552"/>
              <a:gd name="T3" fmla="*/ 0 h 11328"/>
              <a:gd name="T4" fmla="*/ 0 w 11552"/>
              <a:gd name="T5" fmla="*/ 848 h 11328"/>
              <a:gd name="T6" fmla="*/ 848 w 11552"/>
              <a:gd name="T7" fmla="*/ 11328 h 11328"/>
              <a:gd name="T8" fmla="*/ 6032 w 11552"/>
              <a:gd name="T9" fmla="*/ 6656 h 11328"/>
              <a:gd name="T10" fmla="*/ 2048 w 11552"/>
              <a:gd name="T11" fmla="*/ 1392 h 11328"/>
              <a:gd name="T12" fmla="*/ 7152 w 11552"/>
              <a:gd name="T13" fmla="*/ 2096 h 11328"/>
              <a:gd name="T14" fmla="*/ 2048 w 11552"/>
              <a:gd name="T15" fmla="*/ 2800 h 11328"/>
              <a:gd name="T16" fmla="*/ 2048 w 11552"/>
              <a:gd name="T17" fmla="*/ 1392 h 11328"/>
              <a:gd name="T18" fmla="*/ 2048 w 11552"/>
              <a:gd name="T19" fmla="*/ 3552 h 11328"/>
              <a:gd name="T20" fmla="*/ 7152 w 11552"/>
              <a:gd name="T21" fmla="*/ 4256 h 11328"/>
              <a:gd name="T22" fmla="*/ 2048 w 11552"/>
              <a:gd name="T23" fmla="*/ 4960 h 11328"/>
              <a:gd name="T24" fmla="*/ 4240 w 11552"/>
              <a:gd name="T25" fmla="*/ 8160 h 11328"/>
              <a:gd name="T26" fmla="*/ 4240 w 11552"/>
              <a:gd name="T27" fmla="*/ 6080 h 11328"/>
              <a:gd name="T28" fmla="*/ 4240 w 11552"/>
              <a:gd name="T29" fmla="*/ 8160 h 11328"/>
              <a:gd name="T30" fmla="*/ 6512 w 11552"/>
              <a:gd name="T31" fmla="*/ 9088 h 11328"/>
              <a:gd name="T32" fmla="*/ 7632 w 11552"/>
              <a:gd name="T33" fmla="*/ 10768 h 11328"/>
              <a:gd name="T34" fmla="*/ 7632 w 11552"/>
              <a:gd name="T35" fmla="*/ 8528 h 11328"/>
              <a:gd name="T36" fmla="*/ 9552 w 11552"/>
              <a:gd name="T37" fmla="*/ 8400 h 11328"/>
              <a:gd name="T38" fmla="*/ 9168 w 11552"/>
              <a:gd name="T39" fmla="*/ 7824 h 11328"/>
              <a:gd name="T40" fmla="*/ 8976 w 11552"/>
              <a:gd name="T41" fmla="*/ 8208 h 11328"/>
              <a:gd name="T42" fmla="*/ 8896 w 11552"/>
              <a:gd name="T43" fmla="*/ 9264 h 11328"/>
              <a:gd name="T44" fmla="*/ 9104 w 11552"/>
              <a:gd name="T45" fmla="*/ 9632 h 11328"/>
              <a:gd name="T46" fmla="*/ 9552 w 11552"/>
              <a:gd name="T47" fmla="*/ 8400 h 11328"/>
              <a:gd name="T48" fmla="*/ 10480 w 11552"/>
              <a:gd name="T49" fmla="*/ 8128 h 11328"/>
              <a:gd name="T50" fmla="*/ 9824 w 11552"/>
              <a:gd name="T51" fmla="*/ 7216 h 11328"/>
              <a:gd name="T52" fmla="*/ 9664 w 11552"/>
              <a:gd name="T53" fmla="*/ 7632 h 11328"/>
              <a:gd name="T54" fmla="*/ 9520 w 11552"/>
              <a:gd name="T55" fmla="*/ 9888 h 11328"/>
              <a:gd name="T56" fmla="*/ 9696 w 11552"/>
              <a:gd name="T57" fmla="*/ 10288 h 11328"/>
              <a:gd name="T58" fmla="*/ 10496 w 11552"/>
              <a:gd name="T59" fmla="*/ 9072 h 11328"/>
              <a:gd name="T60" fmla="*/ 10768 w 11552"/>
              <a:gd name="T61" fmla="*/ 6688 h 11328"/>
              <a:gd name="T62" fmla="*/ 10336 w 11552"/>
              <a:gd name="T63" fmla="*/ 6832 h 11328"/>
              <a:gd name="T64" fmla="*/ 10896 w 11552"/>
              <a:gd name="T65" fmla="*/ 9520 h 11328"/>
              <a:gd name="T66" fmla="*/ 10128 w 11552"/>
              <a:gd name="T67" fmla="*/ 10784 h 11328"/>
              <a:gd name="T68" fmla="*/ 10528 w 11552"/>
              <a:gd name="T69" fmla="*/ 10960 h 11328"/>
              <a:gd name="T70" fmla="*/ 11504 w 11552"/>
              <a:gd name="T71" fmla="*/ 8336 h 1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2" h="11328">
                <a:moveTo>
                  <a:pt x="6928" y="5776"/>
                </a:moveTo>
                <a:lnTo>
                  <a:pt x="8480" y="5776"/>
                </a:lnTo>
                <a:lnTo>
                  <a:pt x="8480" y="848"/>
                </a:lnTo>
                <a:cubicBezTo>
                  <a:pt x="8480" y="384"/>
                  <a:pt x="8096" y="0"/>
                  <a:pt x="7632" y="0"/>
                </a:cubicBezTo>
                <a:lnTo>
                  <a:pt x="864" y="0"/>
                </a:lnTo>
                <a:cubicBezTo>
                  <a:pt x="384" y="0"/>
                  <a:pt x="0" y="384"/>
                  <a:pt x="0" y="848"/>
                </a:cubicBezTo>
                <a:lnTo>
                  <a:pt x="0" y="10480"/>
                </a:lnTo>
                <a:cubicBezTo>
                  <a:pt x="0" y="10944"/>
                  <a:pt x="384" y="11328"/>
                  <a:pt x="848" y="11328"/>
                </a:cubicBezTo>
                <a:lnTo>
                  <a:pt x="6032" y="11328"/>
                </a:lnTo>
                <a:lnTo>
                  <a:pt x="6032" y="6656"/>
                </a:lnTo>
                <a:cubicBezTo>
                  <a:pt x="6048" y="6176"/>
                  <a:pt x="6448" y="5776"/>
                  <a:pt x="6928" y="5776"/>
                </a:cubicBezTo>
                <a:close/>
                <a:moveTo>
                  <a:pt x="2048" y="1392"/>
                </a:moveTo>
                <a:lnTo>
                  <a:pt x="6448" y="1392"/>
                </a:lnTo>
                <a:cubicBezTo>
                  <a:pt x="6832" y="1392"/>
                  <a:pt x="7152" y="1712"/>
                  <a:pt x="7152" y="2096"/>
                </a:cubicBezTo>
                <a:cubicBezTo>
                  <a:pt x="7152" y="2480"/>
                  <a:pt x="6832" y="2800"/>
                  <a:pt x="6448" y="2800"/>
                </a:cubicBezTo>
                <a:lnTo>
                  <a:pt x="2048" y="2800"/>
                </a:lnTo>
                <a:cubicBezTo>
                  <a:pt x="1664" y="2800"/>
                  <a:pt x="1344" y="2480"/>
                  <a:pt x="1344" y="2096"/>
                </a:cubicBezTo>
                <a:cubicBezTo>
                  <a:pt x="1344" y="1712"/>
                  <a:pt x="1664" y="1392"/>
                  <a:pt x="2048" y="1392"/>
                </a:cubicBezTo>
                <a:close/>
                <a:moveTo>
                  <a:pt x="1344" y="4256"/>
                </a:moveTo>
                <a:cubicBezTo>
                  <a:pt x="1344" y="3872"/>
                  <a:pt x="1664" y="3552"/>
                  <a:pt x="2048" y="3552"/>
                </a:cubicBezTo>
                <a:lnTo>
                  <a:pt x="6448" y="3552"/>
                </a:lnTo>
                <a:cubicBezTo>
                  <a:pt x="6832" y="3552"/>
                  <a:pt x="7152" y="3872"/>
                  <a:pt x="7152" y="4256"/>
                </a:cubicBezTo>
                <a:cubicBezTo>
                  <a:pt x="7152" y="4640"/>
                  <a:pt x="6832" y="4960"/>
                  <a:pt x="6448" y="4960"/>
                </a:cubicBezTo>
                <a:lnTo>
                  <a:pt x="2048" y="4960"/>
                </a:lnTo>
                <a:cubicBezTo>
                  <a:pt x="1664" y="4944"/>
                  <a:pt x="1344" y="4624"/>
                  <a:pt x="1344" y="4256"/>
                </a:cubicBezTo>
                <a:close/>
                <a:moveTo>
                  <a:pt x="4240" y="8160"/>
                </a:moveTo>
                <a:cubicBezTo>
                  <a:pt x="3664" y="8160"/>
                  <a:pt x="3200" y="7696"/>
                  <a:pt x="3200" y="7120"/>
                </a:cubicBezTo>
                <a:cubicBezTo>
                  <a:pt x="3200" y="6544"/>
                  <a:pt x="3664" y="6080"/>
                  <a:pt x="4240" y="6080"/>
                </a:cubicBezTo>
                <a:cubicBezTo>
                  <a:pt x="4816" y="6080"/>
                  <a:pt x="5280" y="6544"/>
                  <a:pt x="5280" y="7120"/>
                </a:cubicBezTo>
                <a:cubicBezTo>
                  <a:pt x="5296" y="7696"/>
                  <a:pt x="4832" y="8160"/>
                  <a:pt x="4240" y="8160"/>
                </a:cubicBezTo>
                <a:close/>
                <a:moveTo>
                  <a:pt x="7632" y="6848"/>
                </a:moveTo>
                <a:lnTo>
                  <a:pt x="6512" y="9088"/>
                </a:lnTo>
                <a:lnTo>
                  <a:pt x="7632" y="9088"/>
                </a:lnTo>
                <a:lnTo>
                  <a:pt x="7632" y="10768"/>
                </a:lnTo>
                <a:lnTo>
                  <a:pt x="8752" y="8528"/>
                </a:lnTo>
                <a:lnTo>
                  <a:pt x="7632" y="8528"/>
                </a:lnTo>
                <a:lnTo>
                  <a:pt x="7632" y="6848"/>
                </a:lnTo>
                <a:close/>
                <a:moveTo>
                  <a:pt x="9552" y="8400"/>
                </a:moveTo>
                <a:cubicBezTo>
                  <a:pt x="9504" y="8112"/>
                  <a:pt x="9376" y="7952"/>
                  <a:pt x="9360" y="7920"/>
                </a:cubicBezTo>
                <a:cubicBezTo>
                  <a:pt x="9312" y="7856"/>
                  <a:pt x="9248" y="7824"/>
                  <a:pt x="9168" y="7824"/>
                </a:cubicBezTo>
                <a:cubicBezTo>
                  <a:pt x="9040" y="7824"/>
                  <a:pt x="8928" y="7936"/>
                  <a:pt x="8928" y="8064"/>
                </a:cubicBezTo>
                <a:cubicBezTo>
                  <a:pt x="8928" y="8112"/>
                  <a:pt x="8944" y="8176"/>
                  <a:pt x="8976" y="8208"/>
                </a:cubicBezTo>
                <a:cubicBezTo>
                  <a:pt x="8976" y="8208"/>
                  <a:pt x="9040" y="8304"/>
                  <a:pt x="9072" y="8480"/>
                </a:cubicBezTo>
                <a:cubicBezTo>
                  <a:pt x="9120" y="8736"/>
                  <a:pt x="9056" y="8992"/>
                  <a:pt x="8896" y="9264"/>
                </a:cubicBezTo>
                <a:cubicBezTo>
                  <a:pt x="8880" y="9296"/>
                  <a:pt x="8864" y="9344"/>
                  <a:pt x="8864" y="9392"/>
                </a:cubicBezTo>
                <a:cubicBezTo>
                  <a:pt x="8864" y="9520"/>
                  <a:pt x="8976" y="9632"/>
                  <a:pt x="9104" y="9632"/>
                </a:cubicBezTo>
                <a:cubicBezTo>
                  <a:pt x="9200" y="9632"/>
                  <a:pt x="9264" y="9584"/>
                  <a:pt x="9312" y="9520"/>
                </a:cubicBezTo>
                <a:cubicBezTo>
                  <a:pt x="9584" y="9056"/>
                  <a:pt x="9584" y="8656"/>
                  <a:pt x="9552" y="8400"/>
                </a:cubicBezTo>
                <a:close/>
                <a:moveTo>
                  <a:pt x="10496" y="9072"/>
                </a:moveTo>
                <a:cubicBezTo>
                  <a:pt x="10576" y="8752"/>
                  <a:pt x="10560" y="8432"/>
                  <a:pt x="10480" y="8128"/>
                </a:cubicBezTo>
                <a:cubicBezTo>
                  <a:pt x="10336" y="7600"/>
                  <a:pt x="10000" y="7296"/>
                  <a:pt x="9984" y="7280"/>
                </a:cubicBezTo>
                <a:cubicBezTo>
                  <a:pt x="9936" y="7248"/>
                  <a:pt x="9888" y="7216"/>
                  <a:pt x="9824" y="7216"/>
                </a:cubicBezTo>
                <a:cubicBezTo>
                  <a:pt x="9696" y="7216"/>
                  <a:pt x="9584" y="7328"/>
                  <a:pt x="9584" y="7456"/>
                </a:cubicBezTo>
                <a:cubicBezTo>
                  <a:pt x="9584" y="7520"/>
                  <a:pt x="9616" y="7584"/>
                  <a:pt x="9664" y="7632"/>
                </a:cubicBezTo>
                <a:cubicBezTo>
                  <a:pt x="9664" y="7632"/>
                  <a:pt x="9920" y="7872"/>
                  <a:pt x="10032" y="8272"/>
                </a:cubicBezTo>
                <a:cubicBezTo>
                  <a:pt x="10176" y="8800"/>
                  <a:pt x="10000" y="9344"/>
                  <a:pt x="9520" y="9888"/>
                </a:cubicBezTo>
                <a:cubicBezTo>
                  <a:pt x="9488" y="9936"/>
                  <a:pt x="9456" y="9984"/>
                  <a:pt x="9456" y="10048"/>
                </a:cubicBezTo>
                <a:cubicBezTo>
                  <a:pt x="9456" y="10176"/>
                  <a:pt x="9568" y="10288"/>
                  <a:pt x="9696" y="10288"/>
                </a:cubicBezTo>
                <a:cubicBezTo>
                  <a:pt x="9776" y="10288"/>
                  <a:pt x="9840" y="10256"/>
                  <a:pt x="9888" y="10208"/>
                </a:cubicBezTo>
                <a:cubicBezTo>
                  <a:pt x="10192" y="9840"/>
                  <a:pt x="10400" y="9456"/>
                  <a:pt x="10496" y="9072"/>
                </a:cubicBezTo>
                <a:close/>
                <a:moveTo>
                  <a:pt x="11504" y="8336"/>
                </a:moveTo>
                <a:cubicBezTo>
                  <a:pt x="11424" y="7776"/>
                  <a:pt x="11184" y="7216"/>
                  <a:pt x="10768" y="6688"/>
                </a:cubicBezTo>
                <a:cubicBezTo>
                  <a:pt x="10720" y="6624"/>
                  <a:pt x="10656" y="6592"/>
                  <a:pt x="10576" y="6592"/>
                </a:cubicBezTo>
                <a:cubicBezTo>
                  <a:pt x="10448" y="6592"/>
                  <a:pt x="10336" y="6704"/>
                  <a:pt x="10336" y="6832"/>
                </a:cubicBezTo>
                <a:cubicBezTo>
                  <a:pt x="10336" y="6880"/>
                  <a:pt x="10352" y="6944"/>
                  <a:pt x="10384" y="6976"/>
                </a:cubicBezTo>
                <a:cubicBezTo>
                  <a:pt x="11040" y="7808"/>
                  <a:pt x="11200" y="8656"/>
                  <a:pt x="10896" y="9520"/>
                </a:cubicBezTo>
                <a:cubicBezTo>
                  <a:pt x="10656" y="10176"/>
                  <a:pt x="10208" y="10592"/>
                  <a:pt x="10208" y="10608"/>
                </a:cubicBezTo>
                <a:cubicBezTo>
                  <a:pt x="10160" y="10656"/>
                  <a:pt x="10128" y="10720"/>
                  <a:pt x="10128" y="10784"/>
                </a:cubicBezTo>
                <a:cubicBezTo>
                  <a:pt x="10128" y="10912"/>
                  <a:pt x="10240" y="11024"/>
                  <a:pt x="10368" y="11024"/>
                </a:cubicBezTo>
                <a:cubicBezTo>
                  <a:pt x="10432" y="11024"/>
                  <a:pt x="10496" y="10992"/>
                  <a:pt x="10528" y="10960"/>
                </a:cubicBezTo>
                <a:cubicBezTo>
                  <a:pt x="10544" y="10944"/>
                  <a:pt x="11056" y="10464"/>
                  <a:pt x="11344" y="9712"/>
                </a:cubicBezTo>
                <a:cubicBezTo>
                  <a:pt x="11504" y="9264"/>
                  <a:pt x="11552" y="8800"/>
                  <a:pt x="11504" y="8336"/>
                </a:cubicBezTo>
                <a:close/>
              </a:path>
            </a:pathLst>
          </a:custGeom>
          <a:solidFill>
            <a:schemeClr val="bg1"/>
          </a:solidFill>
          <a:ln>
            <a:noFill/>
          </a:ln>
        </p:spPr>
      </p:sp>
      <p:sp>
        <p:nvSpPr>
          <p:cNvPr id="20" name="iconfont-10043-4933350"/>
          <p:cNvSpPr>
            <a:spLocks noChangeAspect="1"/>
          </p:cNvSpPr>
          <p:nvPr/>
        </p:nvSpPr>
        <p:spPr bwMode="auto">
          <a:xfrm>
            <a:off x="4110087" y="4474469"/>
            <a:ext cx="609685" cy="609685"/>
          </a:xfrm>
          <a:custGeom>
            <a:avLst/>
            <a:gdLst>
              <a:gd name="T0" fmla="*/ 5400 w 10800"/>
              <a:gd name="T1" fmla="*/ 10800 h 10800"/>
              <a:gd name="T2" fmla="*/ 0 w 10800"/>
              <a:gd name="T3" fmla="*/ 5400 h 10800"/>
              <a:gd name="T4" fmla="*/ 5400 w 10800"/>
              <a:gd name="T5" fmla="*/ 0 h 10800"/>
              <a:gd name="T6" fmla="*/ 10800 w 10800"/>
              <a:gd name="T7" fmla="*/ 5400 h 10800"/>
              <a:gd name="T8" fmla="*/ 5400 w 10800"/>
              <a:gd name="T9" fmla="*/ 10800 h 10800"/>
              <a:gd name="T10" fmla="*/ 5400 w 10800"/>
              <a:gd name="T11" fmla="*/ 800 h 10800"/>
              <a:gd name="T12" fmla="*/ 800 w 10800"/>
              <a:gd name="T13" fmla="*/ 5400 h 10800"/>
              <a:gd name="T14" fmla="*/ 5400 w 10800"/>
              <a:gd name="T15" fmla="*/ 10000 h 10800"/>
              <a:gd name="T16" fmla="*/ 10000 w 10800"/>
              <a:gd name="T17" fmla="*/ 5400 h 10800"/>
              <a:gd name="T18" fmla="*/ 5400 w 10800"/>
              <a:gd name="T19" fmla="*/ 800 h 10800"/>
              <a:gd name="T20" fmla="*/ 7400 w 10800"/>
              <a:gd name="T21" fmla="*/ 5880 h 10800"/>
              <a:gd name="T22" fmla="*/ 5800 w 10800"/>
              <a:gd name="T23" fmla="*/ 5880 h 10800"/>
              <a:gd name="T24" fmla="*/ 5800 w 10800"/>
              <a:gd name="T25" fmla="*/ 5080 h 10800"/>
              <a:gd name="T26" fmla="*/ 7400 w 10800"/>
              <a:gd name="T27" fmla="*/ 5080 h 10800"/>
              <a:gd name="T28" fmla="*/ 7800 w 10800"/>
              <a:gd name="T29" fmla="*/ 4680 h 10800"/>
              <a:gd name="T30" fmla="*/ 7400 w 10800"/>
              <a:gd name="T31" fmla="*/ 4280 h 10800"/>
              <a:gd name="T32" fmla="*/ 6280 w 10800"/>
              <a:gd name="T33" fmla="*/ 4280 h 10800"/>
              <a:gd name="T34" fmla="*/ 7380 w 10800"/>
              <a:gd name="T35" fmla="*/ 3180 h 10800"/>
              <a:gd name="T36" fmla="*/ 7380 w 10800"/>
              <a:gd name="T37" fmla="*/ 2620 h 10800"/>
              <a:gd name="T38" fmla="*/ 6820 w 10800"/>
              <a:gd name="T39" fmla="*/ 2620 h 10800"/>
              <a:gd name="T40" fmla="*/ 5400 w 10800"/>
              <a:gd name="T41" fmla="*/ 4040 h 10800"/>
              <a:gd name="T42" fmla="*/ 3980 w 10800"/>
              <a:gd name="T43" fmla="*/ 2620 h 10800"/>
              <a:gd name="T44" fmla="*/ 3420 w 10800"/>
              <a:gd name="T45" fmla="*/ 2620 h 10800"/>
              <a:gd name="T46" fmla="*/ 3420 w 10800"/>
              <a:gd name="T47" fmla="*/ 3180 h 10800"/>
              <a:gd name="T48" fmla="*/ 4520 w 10800"/>
              <a:gd name="T49" fmla="*/ 4280 h 10800"/>
              <a:gd name="T50" fmla="*/ 3400 w 10800"/>
              <a:gd name="T51" fmla="*/ 4280 h 10800"/>
              <a:gd name="T52" fmla="*/ 3000 w 10800"/>
              <a:gd name="T53" fmla="*/ 4680 h 10800"/>
              <a:gd name="T54" fmla="*/ 3400 w 10800"/>
              <a:gd name="T55" fmla="*/ 5080 h 10800"/>
              <a:gd name="T56" fmla="*/ 5000 w 10800"/>
              <a:gd name="T57" fmla="*/ 5080 h 10800"/>
              <a:gd name="T58" fmla="*/ 5000 w 10800"/>
              <a:gd name="T59" fmla="*/ 5880 h 10800"/>
              <a:gd name="T60" fmla="*/ 3400 w 10800"/>
              <a:gd name="T61" fmla="*/ 5880 h 10800"/>
              <a:gd name="T62" fmla="*/ 3000 w 10800"/>
              <a:gd name="T63" fmla="*/ 6280 h 10800"/>
              <a:gd name="T64" fmla="*/ 3400 w 10800"/>
              <a:gd name="T65" fmla="*/ 6680 h 10800"/>
              <a:gd name="T66" fmla="*/ 5000 w 10800"/>
              <a:gd name="T67" fmla="*/ 6680 h 10800"/>
              <a:gd name="T68" fmla="*/ 5000 w 10800"/>
              <a:gd name="T69" fmla="*/ 8280 h 10800"/>
              <a:gd name="T70" fmla="*/ 5400 w 10800"/>
              <a:gd name="T71" fmla="*/ 8680 h 10800"/>
              <a:gd name="T72" fmla="*/ 5800 w 10800"/>
              <a:gd name="T73" fmla="*/ 8280 h 10800"/>
              <a:gd name="T74" fmla="*/ 5800 w 10800"/>
              <a:gd name="T75" fmla="*/ 6680 h 10800"/>
              <a:gd name="T76" fmla="*/ 7400 w 10800"/>
              <a:gd name="T77" fmla="*/ 6680 h 10800"/>
              <a:gd name="T78" fmla="*/ 7800 w 10800"/>
              <a:gd name="T79" fmla="*/ 6280 h 10800"/>
              <a:gd name="T80" fmla="*/ 7400 w 10800"/>
              <a:gd name="T81" fmla="*/ 5880 h 10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00" h="10800">
                <a:moveTo>
                  <a:pt x="5400" y="10800"/>
                </a:moveTo>
                <a:cubicBezTo>
                  <a:pt x="2420" y="10800"/>
                  <a:pt x="0" y="8380"/>
                  <a:pt x="0" y="5400"/>
                </a:cubicBezTo>
                <a:cubicBezTo>
                  <a:pt x="0" y="2420"/>
                  <a:pt x="2420" y="0"/>
                  <a:pt x="5400" y="0"/>
                </a:cubicBezTo>
                <a:cubicBezTo>
                  <a:pt x="8380" y="0"/>
                  <a:pt x="10800" y="2420"/>
                  <a:pt x="10800" y="5400"/>
                </a:cubicBezTo>
                <a:cubicBezTo>
                  <a:pt x="10800" y="8380"/>
                  <a:pt x="8380" y="10800"/>
                  <a:pt x="5400" y="10800"/>
                </a:cubicBezTo>
                <a:close/>
                <a:moveTo>
                  <a:pt x="5400" y="800"/>
                </a:moveTo>
                <a:cubicBezTo>
                  <a:pt x="2860" y="800"/>
                  <a:pt x="800" y="2860"/>
                  <a:pt x="800" y="5400"/>
                </a:cubicBezTo>
                <a:cubicBezTo>
                  <a:pt x="800" y="7940"/>
                  <a:pt x="2860" y="10000"/>
                  <a:pt x="5400" y="10000"/>
                </a:cubicBezTo>
                <a:cubicBezTo>
                  <a:pt x="7940" y="10000"/>
                  <a:pt x="10000" y="7940"/>
                  <a:pt x="10000" y="5400"/>
                </a:cubicBezTo>
                <a:cubicBezTo>
                  <a:pt x="10000" y="2860"/>
                  <a:pt x="7940" y="800"/>
                  <a:pt x="5400" y="800"/>
                </a:cubicBezTo>
                <a:close/>
                <a:moveTo>
                  <a:pt x="7400" y="5880"/>
                </a:moveTo>
                <a:lnTo>
                  <a:pt x="5800" y="5880"/>
                </a:lnTo>
                <a:lnTo>
                  <a:pt x="5800" y="5080"/>
                </a:lnTo>
                <a:lnTo>
                  <a:pt x="7400" y="5080"/>
                </a:lnTo>
                <a:cubicBezTo>
                  <a:pt x="7620" y="5080"/>
                  <a:pt x="7800" y="4900"/>
                  <a:pt x="7800" y="4680"/>
                </a:cubicBezTo>
                <a:cubicBezTo>
                  <a:pt x="7800" y="4460"/>
                  <a:pt x="7620" y="4280"/>
                  <a:pt x="7400" y="4280"/>
                </a:cubicBezTo>
                <a:lnTo>
                  <a:pt x="6280" y="4280"/>
                </a:lnTo>
                <a:lnTo>
                  <a:pt x="7380" y="3180"/>
                </a:lnTo>
                <a:cubicBezTo>
                  <a:pt x="7540" y="3020"/>
                  <a:pt x="7540" y="2780"/>
                  <a:pt x="7380" y="2620"/>
                </a:cubicBezTo>
                <a:cubicBezTo>
                  <a:pt x="7220" y="2460"/>
                  <a:pt x="6980" y="2460"/>
                  <a:pt x="6820" y="2620"/>
                </a:cubicBezTo>
                <a:lnTo>
                  <a:pt x="5400" y="4040"/>
                </a:lnTo>
                <a:lnTo>
                  <a:pt x="3980" y="2620"/>
                </a:lnTo>
                <a:cubicBezTo>
                  <a:pt x="3820" y="2460"/>
                  <a:pt x="3580" y="2460"/>
                  <a:pt x="3420" y="2620"/>
                </a:cubicBezTo>
                <a:cubicBezTo>
                  <a:pt x="3260" y="2780"/>
                  <a:pt x="3260" y="3020"/>
                  <a:pt x="3420" y="3180"/>
                </a:cubicBezTo>
                <a:lnTo>
                  <a:pt x="4520" y="4280"/>
                </a:lnTo>
                <a:lnTo>
                  <a:pt x="3400" y="4280"/>
                </a:lnTo>
                <a:cubicBezTo>
                  <a:pt x="3180" y="4280"/>
                  <a:pt x="3000" y="4460"/>
                  <a:pt x="3000" y="4680"/>
                </a:cubicBezTo>
                <a:cubicBezTo>
                  <a:pt x="3000" y="4900"/>
                  <a:pt x="3180" y="5080"/>
                  <a:pt x="3400" y="5080"/>
                </a:cubicBezTo>
                <a:lnTo>
                  <a:pt x="5000" y="5080"/>
                </a:lnTo>
                <a:lnTo>
                  <a:pt x="5000" y="5880"/>
                </a:lnTo>
                <a:lnTo>
                  <a:pt x="3400" y="5880"/>
                </a:lnTo>
                <a:cubicBezTo>
                  <a:pt x="3180" y="5880"/>
                  <a:pt x="3000" y="6060"/>
                  <a:pt x="3000" y="6280"/>
                </a:cubicBezTo>
                <a:cubicBezTo>
                  <a:pt x="3000" y="6500"/>
                  <a:pt x="3180" y="6680"/>
                  <a:pt x="3400" y="6680"/>
                </a:cubicBezTo>
                <a:lnTo>
                  <a:pt x="5000" y="6680"/>
                </a:lnTo>
                <a:lnTo>
                  <a:pt x="5000" y="8280"/>
                </a:lnTo>
                <a:cubicBezTo>
                  <a:pt x="5000" y="8500"/>
                  <a:pt x="5180" y="8680"/>
                  <a:pt x="5400" y="8680"/>
                </a:cubicBezTo>
                <a:cubicBezTo>
                  <a:pt x="5620" y="8680"/>
                  <a:pt x="5800" y="8500"/>
                  <a:pt x="5800" y="8280"/>
                </a:cubicBezTo>
                <a:lnTo>
                  <a:pt x="5800" y="6680"/>
                </a:lnTo>
                <a:lnTo>
                  <a:pt x="7400" y="6680"/>
                </a:lnTo>
                <a:cubicBezTo>
                  <a:pt x="7620" y="6680"/>
                  <a:pt x="7800" y="6500"/>
                  <a:pt x="7800" y="6280"/>
                </a:cubicBezTo>
                <a:cubicBezTo>
                  <a:pt x="7800" y="6060"/>
                  <a:pt x="7620" y="5880"/>
                  <a:pt x="7400" y="5880"/>
                </a:cubicBezTo>
                <a:close/>
              </a:path>
            </a:pathLst>
          </a:custGeom>
          <a:solidFill>
            <a:schemeClr val="bg1"/>
          </a:solidFill>
          <a:ln>
            <a:noFill/>
          </a:ln>
        </p:spPr>
      </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en-US" altLang="zh-CN" sz="3200">
                <a:solidFill>
                  <a:schemeClr val="tx1">
                    <a:lumMod val="75000"/>
                    <a:lumOff val="25000"/>
                  </a:schemeClr>
                </a:solidFill>
                <a:latin typeface="站酷快乐体" panose="02010600030101010101" charset="-128"/>
                <a:ea typeface="站酷快乐体" panose="02010600030101010101" charset="-128"/>
              </a:rPr>
              <a:t>ER</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9" name="矩形 38"/>
          <p:cNvSpPr/>
          <p:nvPr/>
        </p:nvSpPr>
        <p:spPr>
          <a:xfrm>
            <a:off x="494030" y="1210945"/>
            <a:ext cx="1104265" cy="40519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wordArtVert"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预期开发计划时间和分工</a:t>
            </a:r>
            <a:r>
              <a:rPr lang="zh-CN" altLang="en-US" sz="3200">
                <a:solidFill>
                  <a:schemeClr val="tx1">
                    <a:lumMod val="75000"/>
                    <a:lumOff val="25000"/>
                  </a:schemeClr>
                </a:solidFill>
                <a:latin typeface="站酷快乐体" panose="02010600030101010101" charset="-128"/>
                <a:ea typeface="站酷快乐体" panose="02010600030101010101" charset="-128"/>
              </a:rPr>
              <a:t>安排</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4" name="图片 3" descr="H2@JOQ871LI{3T0ZBWT$FBH"/>
          <p:cNvPicPr>
            <a:picLocks noChangeAspect="1"/>
          </p:cNvPicPr>
          <p:nvPr/>
        </p:nvPicPr>
        <p:blipFill>
          <a:blip r:embed="rId1"/>
          <a:stretch>
            <a:fillRect/>
          </a:stretch>
        </p:blipFill>
        <p:spPr>
          <a:xfrm>
            <a:off x="2890520" y="40005"/>
            <a:ext cx="7375525" cy="639889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1797141"/>
            <a:ext cx="12192000" cy="3263718"/>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rot="18900000">
            <a:off x="5154557" y="1936338"/>
            <a:ext cx="2985324" cy="2985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18900000">
            <a:off x="3585301" y="3886003"/>
            <a:ext cx="1724108" cy="1724108"/>
          </a:xfrm>
          <a:prstGeom prst="rect">
            <a:avLst/>
          </a:prstGeom>
          <a:solidFill>
            <a:schemeClr val="accent1"/>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18900000">
            <a:off x="2273566" y="2581459"/>
            <a:ext cx="1724108" cy="1724108"/>
          </a:xfrm>
          <a:prstGeom prst="rect">
            <a:avLst/>
          </a:prstGeom>
          <a:solidFill>
            <a:schemeClr val="accent3"/>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18900000">
            <a:off x="3582373" y="1249635"/>
            <a:ext cx="1724108" cy="1724108"/>
          </a:xfrm>
          <a:prstGeom prst="rect">
            <a:avLst/>
          </a:prstGeom>
          <a:solidFill>
            <a:schemeClr val="accent2"/>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文本框 12"/>
          <p:cNvSpPr txBox="1"/>
          <p:nvPr/>
        </p:nvSpPr>
        <p:spPr>
          <a:xfrm>
            <a:off x="5946925" y="2327699"/>
            <a:ext cx="1207454" cy="1003102"/>
          </a:xfrm>
          <a:prstGeom prst="rect">
            <a:avLst/>
          </a:prstGeom>
          <a:noFill/>
          <a:ln w="117475">
            <a:noFill/>
          </a:ln>
        </p:spPr>
        <p:txBody>
          <a:bodyPr wrap="none" rtlCol="0">
            <a:prstTxWarp prst="textPlain">
              <a:avLst/>
            </a:prstTxWarp>
            <a:spAutoFit/>
          </a:bodyPr>
          <a:lstStyle/>
          <a:p>
            <a:r>
              <a:rPr lang="en-US" altLang="zh-CN"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7</a:t>
            </a:r>
            <a:endParaRPr lang="zh-CN" altLang="en-US"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
        <p:nvSpPr>
          <p:cNvPr id="15" name="矩形 14"/>
          <p:cNvSpPr/>
          <p:nvPr/>
        </p:nvSpPr>
        <p:spPr>
          <a:xfrm>
            <a:off x="5133975" y="3331210"/>
            <a:ext cx="3027680" cy="1568450"/>
          </a:xfrm>
          <a:prstGeom prst="rect">
            <a:avLst/>
          </a:prstGeom>
        </p:spPr>
        <p:txBody>
          <a:bodyPr wrap="square">
            <a:spAutoFit/>
          </a:bodyPr>
          <a:lstStyle/>
          <a:p>
            <a:pPr algn="ctr">
              <a:spcBef>
                <a:spcPct val="0"/>
              </a:spcBef>
            </a:pPr>
            <a:r>
              <a:rPr lang="zh-CN" altLang="en-US" sz="3200" dirty="0">
                <a:latin typeface="站酷快乐体" panose="02010600030101010101" charset="-128"/>
                <a:ea typeface="站酷快乐体" panose="02010600030101010101" charset="-128"/>
                <a:sym typeface="思源黑体" panose="020B0400000000000000" pitchFamily="34" charset="-122"/>
              </a:rPr>
              <a:t>工作流程</a:t>
            </a:r>
            <a:endParaRPr lang="zh-CN" altLang="en-US" sz="3200" dirty="0">
              <a:latin typeface="站酷快乐体" panose="02010600030101010101" charset="-128"/>
              <a:ea typeface="站酷快乐体" panose="02010600030101010101" charset="-128"/>
              <a:sym typeface="思源黑体" panose="020B0400000000000000" pitchFamily="34" charset="-122"/>
            </a:endParaRPr>
          </a:p>
          <a:p>
            <a:pPr algn="ctr">
              <a:spcBef>
                <a:spcPct val="0"/>
              </a:spcBef>
            </a:pPr>
            <a:r>
              <a:rPr lang="zh-CN" altLang="en-US" sz="3200" dirty="0">
                <a:latin typeface="站酷快乐体" panose="02010600030101010101" charset="-128"/>
                <a:ea typeface="站酷快乐体" panose="02010600030101010101" charset="-128"/>
                <a:sym typeface="思源黑体" panose="020B0400000000000000" pitchFamily="34" charset="-122"/>
              </a:rPr>
              <a:t>组员分工</a:t>
            </a:r>
            <a:endParaRPr lang="zh-CN" altLang="en-US" sz="3200" dirty="0">
              <a:latin typeface="站酷快乐体" panose="02010600030101010101" charset="-128"/>
              <a:ea typeface="站酷快乐体" panose="02010600030101010101" charset="-128"/>
              <a:sym typeface="思源黑体" panose="020B0400000000000000" pitchFamily="34" charset="-122"/>
            </a:endParaRPr>
          </a:p>
          <a:p>
            <a:pPr algn="ctr">
              <a:spcBef>
                <a:spcPct val="0"/>
              </a:spcBef>
            </a:pPr>
            <a:r>
              <a:rPr lang="zh-CN" altLang="en-US" sz="3200" dirty="0">
                <a:latin typeface="站酷快乐体" panose="02010600030101010101" charset="-128"/>
                <a:ea typeface="站酷快乐体" panose="02010600030101010101" charset="-128"/>
                <a:sym typeface="思源黑体" panose="020B0400000000000000" pitchFamily="34" charset="-122"/>
              </a:rPr>
              <a:t>贡献度比例</a:t>
            </a:r>
            <a:endParaRPr lang="zh-CN" altLang="en-US" sz="3200" dirty="0">
              <a:solidFill>
                <a:schemeClr val="tx1">
                  <a:lumMod val="75000"/>
                  <a:lumOff val="25000"/>
                </a:schemeClr>
              </a:solidFill>
              <a:latin typeface="汉仪粗圆简" panose="02010600000101010101" charset="-122"/>
              <a:ea typeface="汉仪粗圆简" panose="02010600000101010101" charset="-122"/>
            </a:endParaRPr>
          </a:p>
        </p:txBody>
      </p:sp>
      <p:grpSp>
        <p:nvGrpSpPr>
          <p:cNvPr id="5" name="组合 4"/>
          <p:cNvGrpSpPr/>
          <p:nvPr/>
        </p:nvGrpSpPr>
        <p:grpSpPr>
          <a:xfrm>
            <a:off x="4612405" y="1091381"/>
            <a:ext cx="4069626" cy="4599650"/>
            <a:chOff x="5550217" y="1317873"/>
            <a:chExt cx="3668840" cy="4146666"/>
          </a:xfrm>
        </p:grpSpPr>
        <p:sp>
          <p:nvSpPr>
            <p:cNvPr id="16" name="矩形 22"/>
            <p:cNvSpPr/>
            <p:nvPr/>
          </p:nvSpPr>
          <p:spPr>
            <a:xfrm rot="18900000" flipV="1">
              <a:off x="5550217" y="1317873"/>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22"/>
            <p:cNvSpPr/>
            <p:nvPr/>
          </p:nvSpPr>
          <p:spPr>
            <a:xfrm rot="2700000">
              <a:off x="5550217" y="1795699"/>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8" name="iconfont-10459-4813179"/>
          <p:cNvSpPr>
            <a:spLocks noChangeAspect="1"/>
          </p:cNvSpPr>
          <p:nvPr/>
        </p:nvSpPr>
        <p:spPr bwMode="auto">
          <a:xfrm>
            <a:off x="4231433" y="1797141"/>
            <a:ext cx="609685" cy="600087"/>
          </a:xfrm>
          <a:custGeom>
            <a:avLst/>
            <a:gdLst>
              <a:gd name="T0" fmla="*/ 5779 w 11379"/>
              <a:gd name="T1" fmla="*/ 0 h 11200"/>
              <a:gd name="T2" fmla="*/ 711 w 11379"/>
              <a:gd name="T3" fmla="*/ 3215 h 11200"/>
              <a:gd name="T4" fmla="*/ 711 w 11379"/>
              <a:gd name="T5" fmla="*/ 7985 h 11200"/>
              <a:gd name="T6" fmla="*/ 5779 w 11379"/>
              <a:gd name="T7" fmla="*/ 11200 h 11200"/>
              <a:gd name="T8" fmla="*/ 11379 w 11379"/>
              <a:gd name="T9" fmla="*/ 5600 h 11200"/>
              <a:gd name="T10" fmla="*/ 5779 w 11379"/>
              <a:gd name="T11" fmla="*/ 0 h 11200"/>
              <a:gd name="T12" fmla="*/ 979 w 11379"/>
              <a:gd name="T13" fmla="*/ 5600 h 11200"/>
              <a:gd name="T14" fmla="*/ 1244 w 11379"/>
              <a:gd name="T15" fmla="*/ 4022 h 11200"/>
              <a:gd name="T16" fmla="*/ 2581 w 11379"/>
              <a:gd name="T17" fmla="*/ 5600 h 11200"/>
              <a:gd name="T18" fmla="*/ 1244 w 11379"/>
              <a:gd name="T19" fmla="*/ 7178 h 11200"/>
              <a:gd name="T20" fmla="*/ 979 w 11379"/>
              <a:gd name="T21" fmla="*/ 5600 h 11200"/>
              <a:gd name="T22" fmla="*/ 9173 w 11379"/>
              <a:gd name="T23" fmla="*/ 8994 h 11200"/>
              <a:gd name="T24" fmla="*/ 5109 w 11379"/>
              <a:gd name="T25" fmla="*/ 10352 h 11200"/>
              <a:gd name="T26" fmla="*/ 1578 w 11379"/>
              <a:gd name="T27" fmla="*/ 7925 h 11200"/>
              <a:gd name="T28" fmla="*/ 3379 w 11379"/>
              <a:gd name="T29" fmla="*/ 5600 h 11200"/>
              <a:gd name="T30" fmla="*/ 1578 w 11379"/>
              <a:gd name="T31" fmla="*/ 3276 h 11200"/>
              <a:gd name="T32" fmla="*/ 4778 w 11379"/>
              <a:gd name="T33" fmla="*/ 901 h 11200"/>
              <a:gd name="T34" fmla="*/ 8669 w 11379"/>
              <a:gd name="T35" fmla="*/ 1761 h 11200"/>
              <a:gd name="T36" fmla="*/ 10571 w 11379"/>
              <a:gd name="T37" fmla="*/ 5263 h 11200"/>
              <a:gd name="T38" fmla="*/ 9173 w 11379"/>
              <a:gd name="T39" fmla="*/ 8994 h 11200"/>
              <a:gd name="T40" fmla="*/ 10179 w 11379"/>
              <a:gd name="T41" fmla="*/ 2400 h 11200"/>
              <a:gd name="T42" fmla="*/ 1379 w 11379"/>
              <a:gd name="T43" fmla="*/ 2400 h 11200"/>
              <a:gd name="T44" fmla="*/ 1379 w 11379"/>
              <a:gd name="T45" fmla="*/ 3200 h 11200"/>
              <a:gd name="T46" fmla="*/ 10179 w 11379"/>
              <a:gd name="T47" fmla="*/ 3200 h 11200"/>
              <a:gd name="T48" fmla="*/ 10179 w 11379"/>
              <a:gd name="T49" fmla="*/ 2400 h 11200"/>
              <a:gd name="T50" fmla="*/ 10179 w 11379"/>
              <a:gd name="T51" fmla="*/ 8000 h 11200"/>
              <a:gd name="T52" fmla="*/ 1379 w 11379"/>
              <a:gd name="T53" fmla="*/ 8000 h 11200"/>
              <a:gd name="T54" fmla="*/ 1379 w 11379"/>
              <a:gd name="T55" fmla="*/ 8800 h 11200"/>
              <a:gd name="T56" fmla="*/ 10179 w 11379"/>
              <a:gd name="T57" fmla="*/ 8800 h 11200"/>
              <a:gd name="T58" fmla="*/ 10179 w 11379"/>
              <a:gd name="T59" fmla="*/ 8000 h 11200"/>
              <a:gd name="T60" fmla="*/ 5379 w 11379"/>
              <a:gd name="T61" fmla="*/ 3600 h 11200"/>
              <a:gd name="T62" fmla="*/ 3779 w 11379"/>
              <a:gd name="T63" fmla="*/ 3600 h 11200"/>
              <a:gd name="T64" fmla="*/ 3779 w 11379"/>
              <a:gd name="T65" fmla="*/ 5200 h 11200"/>
              <a:gd name="T66" fmla="*/ 5379 w 11379"/>
              <a:gd name="T67" fmla="*/ 5200 h 11200"/>
              <a:gd name="T68" fmla="*/ 5379 w 11379"/>
              <a:gd name="T69" fmla="*/ 3600 h 11200"/>
              <a:gd name="T70" fmla="*/ 5379 w 11379"/>
              <a:gd name="T71" fmla="*/ 6000 h 11200"/>
              <a:gd name="T72" fmla="*/ 3779 w 11379"/>
              <a:gd name="T73" fmla="*/ 6000 h 11200"/>
              <a:gd name="T74" fmla="*/ 3779 w 11379"/>
              <a:gd name="T75" fmla="*/ 7600 h 11200"/>
              <a:gd name="T76" fmla="*/ 5379 w 11379"/>
              <a:gd name="T77" fmla="*/ 7600 h 11200"/>
              <a:gd name="T78" fmla="*/ 5379 w 11379"/>
              <a:gd name="T79" fmla="*/ 6000 h 11200"/>
              <a:gd name="T80" fmla="*/ 7379 w 11379"/>
              <a:gd name="T81" fmla="*/ 3600 h 11200"/>
              <a:gd name="T82" fmla="*/ 5779 w 11379"/>
              <a:gd name="T83" fmla="*/ 3600 h 11200"/>
              <a:gd name="T84" fmla="*/ 5779 w 11379"/>
              <a:gd name="T85" fmla="*/ 5200 h 11200"/>
              <a:gd name="T86" fmla="*/ 7379 w 11379"/>
              <a:gd name="T87" fmla="*/ 5200 h 11200"/>
              <a:gd name="T88" fmla="*/ 7379 w 11379"/>
              <a:gd name="T89" fmla="*/ 3600 h 11200"/>
              <a:gd name="T90" fmla="*/ 7379 w 11379"/>
              <a:gd name="T91" fmla="*/ 6000 h 11200"/>
              <a:gd name="T92" fmla="*/ 5779 w 11379"/>
              <a:gd name="T93" fmla="*/ 6000 h 11200"/>
              <a:gd name="T94" fmla="*/ 5779 w 11379"/>
              <a:gd name="T95" fmla="*/ 7600 h 11200"/>
              <a:gd name="T96" fmla="*/ 7379 w 11379"/>
              <a:gd name="T97" fmla="*/ 7600 h 11200"/>
              <a:gd name="T98" fmla="*/ 7379 w 11379"/>
              <a:gd name="T99" fmla="*/ 6000 h 11200"/>
              <a:gd name="T100" fmla="*/ 9379 w 11379"/>
              <a:gd name="T101" fmla="*/ 3600 h 11200"/>
              <a:gd name="T102" fmla="*/ 7779 w 11379"/>
              <a:gd name="T103" fmla="*/ 3600 h 11200"/>
              <a:gd name="T104" fmla="*/ 7779 w 11379"/>
              <a:gd name="T105" fmla="*/ 5200 h 11200"/>
              <a:gd name="T106" fmla="*/ 9379 w 11379"/>
              <a:gd name="T107" fmla="*/ 5200 h 11200"/>
              <a:gd name="T108" fmla="*/ 9379 w 11379"/>
              <a:gd name="T109" fmla="*/ 3600 h 11200"/>
              <a:gd name="T110" fmla="*/ 9379 w 11379"/>
              <a:gd name="T111" fmla="*/ 6000 h 11200"/>
              <a:gd name="T112" fmla="*/ 7779 w 11379"/>
              <a:gd name="T113" fmla="*/ 6000 h 11200"/>
              <a:gd name="T114" fmla="*/ 7779 w 11379"/>
              <a:gd name="T115" fmla="*/ 7600 h 11200"/>
              <a:gd name="T116" fmla="*/ 9379 w 11379"/>
              <a:gd name="T117" fmla="*/ 7600 h 11200"/>
              <a:gd name="T118" fmla="*/ 9379 w 11379"/>
              <a:gd name="T119" fmla="*/ 60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9" h="11200">
                <a:moveTo>
                  <a:pt x="5779" y="0"/>
                </a:moveTo>
                <a:cubicBezTo>
                  <a:pt x="3539" y="0"/>
                  <a:pt x="1607" y="1315"/>
                  <a:pt x="711" y="3215"/>
                </a:cubicBezTo>
                <a:cubicBezTo>
                  <a:pt x="0" y="4726"/>
                  <a:pt x="0" y="6474"/>
                  <a:pt x="711" y="7985"/>
                </a:cubicBezTo>
                <a:cubicBezTo>
                  <a:pt x="1607" y="9885"/>
                  <a:pt x="3539" y="11200"/>
                  <a:pt x="5779" y="11200"/>
                </a:cubicBezTo>
                <a:cubicBezTo>
                  <a:pt x="8872" y="11200"/>
                  <a:pt x="11379" y="8693"/>
                  <a:pt x="11379" y="5600"/>
                </a:cubicBezTo>
                <a:cubicBezTo>
                  <a:pt x="11379" y="2507"/>
                  <a:pt x="8872" y="0"/>
                  <a:pt x="5779" y="0"/>
                </a:cubicBezTo>
                <a:close/>
                <a:moveTo>
                  <a:pt x="979" y="5600"/>
                </a:moveTo>
                <a:cubicBezTo>
                  <a:pt x="978" y="5063"/>
                  <a:pt x="1068" y="4529"/>
                  <a:pt x="1244" y="4022"/>
                </a:cubicBezTo>
                <a:cubicBezTo>
                  <a:pt x="2016" y="4151"/>
                  <a:pt x="2581" y="4818"/>
                  <a:pt x="2581" y="5600"/>
                </a:cubicBezTo>
                <a:cubicBezTo>
                  <a:pt x="2581" y="6382"/>
                  <a:pt x="2016" y="7050"/>
                  <a:pt x="1244" y="7178"/>
                </a:cubicBezTo>
                <a:cubicBezTo>
                  <a:pt x="1068" y="6671"/>
                  <a:pt x="978" y="6137"/>
                  <a:pt x="979" y="5600"/>
                </a:cubicBezTo>
                <a:close/>
                <a:moveTo>
                  <a:pt x="9173" y="8994"/>
                </a:moveTo>
                <a:cubicBezTo>
                  <a:pt x="8107" y="10059"/>
                  <a:pt x="6602" y="10562"/>
                  <a:pt x="5109" y="10352"/>
                </a:cubicBezTo>
                <a:cubicBezTo>
                  <a:pt x="3617" y="10142"/>
                  <a:pt x="2309" y="9243"/>
                  <a:pt x="1578" y="7925"/>
                </a:cubicBezTo>
                <a:cubicBezTo>
                  <a:pt x="2638" y="7651"/>
                  <a:pt x="3379" y="6695"/>
                  <a:pt x="3379" y="5600"/>
                </a:cubicBezTo>
                <a:cubicBezTo>
                  <a:pt x="3379" y="4506"/>
                  <a:pt x="2638" y="3549"/>
                  <a:pt x="1578" y="3276"/>
                </a:cubicBezTo>
                <a:cubicBezTo>
                  <a:pt x="2251" y="2058"/>
                  <a:pt x="3418" y="1192"/>
                  <a:pt x="4778" y="901"/>
                </a:cubicBezTo>
                <a:cubicBezTo>
                  <a:pt x="6138" y="611"/>
                  <a:pt x="7558" y="924"/>
                  <a:pt x="8669" y="1761"/>
                </a:cubicBezTo>
                <a:cubicBezTo>
                  <a:pt x="9780" y="2598"/>
                  <a:pt x="10474" y="3875"/>
                  <a:pt x="10571" y="5263"/>
                </a:cubicBezTo>
                <a:cubicBezTo>
                  <a:pt x="10667" y="6650"/>
                  <a:pt x="10157" y="8011"/>
                  <a:pt x="9173" y="8994"/>
                </a:cubicBezTo>
                <a:close/>
                <a:moveTo>
                  <a:pt x="10179" y="2400"/>
                </a:moveTo>
                <a:lnTo>
                  <a:pt x="1379" y="2400"/>
                </a:lnTo>
                <a:lnTo>
                  <a:pt x="1379" y="3200"/>
                </a:lnTo>
                <a:lnTo>
                  <a:pt x="10179" y="3200"/>
                </a:lnTo>
                <a:lnTo>
                  <a:pt x="10179" y="2400"/>
                </a:lnTo>
                <a:close/>
                <a:moveTo>
                  <a:pt x="10179" y="8000"/>
                </a:moveTo>
                <a:lnTo>
                  <a:pt x="1379" y="8000"/>
                </a:lnTo>
                <a:lnTo>
                  <a:pt x="1379" y="8800"/>
                </a:lnTo>
                <a:lnTo>
                  <a:pt x="10179" y="8800"/>
                </a:lnTo>
                <a:lnTo>
                  <a:pt x="10179" y="8000"/>
                </a:lnTo>
                <a:close/>
                <a:moveTo>
                  <a:pt x="5379" y="3600"/>
                </a:moveTo>
                <a:lnTo>
                  <a:pt x="3779" y="3600"/>
                </a:lnTo>
                <a:lnTo>
                  <a:pt x="3779" y="5200"/>
                </a:lnTo>
                <a:lnTo>
                  <a:pt x="5379" y="5200"/>
                </a:lnTo>
                <a:lnTo>
                  <a:pt x="5379" y="3600"/>
                </a:lnTo>
                <a:close/>
                <a:moveTo>
                  <a:pt x="5379" y="6000"/>
                </a:moveTo>
                <a:lnTo>
                  <a:pt x="3779" y="6000"/>
                </a:lnTo>
                <a:lnTo>
                  <a:pt x="3779" y="7600"/>
                </a:lnTo>
                <a:lnTo>
                  <a:pt x="5379" y="7600"/>
                </a:lnTo>
                <a:lnTo>
                  <a:pt x="5379" y="6000"/>
                </a:lnTo>
                <a:close/>
                <a:moveTo>
                  <a:pt x="7379" y="3600"/>
                </a:moveTo>
                <a:lnTo>
                  <a:pt x="5779" y="3600"/>
                </a:lnTo>
                <a:lnTo>
                  <a:pt x="5779" y="5200"/>
                </a:lnTo>
                <a:lnTo>
                  <a:pt x="7379" y="5200"/>
                </a:lnTo>
                <a:lnTo>
                  <a:pt x="7379" y="3600"/>
                </a:lnTo>
                <a:close/>
                <a:moveTo>
                  <a:pt x="7379" y="6000"/>
                </a:moveTo>
                <a:lnTo>
                  <a:pt x="5779" y="6000"/>
                </a:lnTo>
                <a:lnTo>
                  <a:pt x="5779" y="7600"/>
                </a:lnTo>
                <a:lnTo>
                  <a:pt x="7379" y="7600"/>
                </a:lnTo>
                <a:lnTo>
                  <a:pt x="7379" y="6000"/>
                </a:lnTo>
                <a:close/>
                <a:moveTo>
                  <a:pt x="9379" y="3600"/>
                </a:moveTo>
                <a:lnTo>
                  <a:pt x="7779" y="3600"/>
                </a:lnTo>
                <a:lnTo>
                  <a:pt x="7779" y="5200"/>
                </a:lnTo>
                <a:lnTo>
                  <a:pt x="9379" y="5200"/>
                </a:lnTo>
                <a:lnTo>
                  <a:pt x="9379" y="3600"/>
                </a:lnTo>
                <a:close/>
                <a:moveTo>
                  <a:pt x="9379" y="6000"/>
                </a:moveTo>
                <a:lnTo>
                  <a:pt x="7779" y="6000"/>
                </a:lnTo>
                <a:lnTo>
                  <a:pt x="7779" y="7600"/>
                </a:lnTo>
                <a:lnTo>
                  <a:pt x="9379" y="7600"/>
                </a:lnTo>
                <a:lnTo>
                  <a:pt x="9379" y="6000"/>
                </a:lnTo>
                <a:close/>
              </a:path>
            </a:pathLst>
          </a:custGeom>
          <a:solidFill>
            <a:schemeClr val="bg1"/>
          </a:solidFill>
          <a:ln>
            <a:noFill/>
          </a:ln>
        </p:spPr>
      </p:sp>
      <p:sp>
        <p:nvSpPr>
          <p:cNvPr id="19" name="iconfont-10459-4813181"/>
          <p:cNvSpPr>
            <a:spLocks noChangeAspect="1"/>
          </p:cNvSpPr>
          <p:nvPr/>
        </p:nvSpPr>
        <p:spPr bwMode="auto">
          <a:xfrm>
            <a:off x="2864696" y="3215149"/>
            <a:ext cx="609685" cy="597919"/>
          </a:xfrm>
          <a:custGeom>
            <a:avLst/>
            <a:gdLst>
              <a:gd name="T0" fmla="*/ 8480 w 11552"/>
              <a:gd name="T1" fmla="*/ 5776 h 11328"/>
              <a:gd name="T2" fmla="*/ 7632 w 11552"/>
              <a:gd name="T3" fmla="*/ 0 h 11328"/>
              <a:gd name="T4" fmla="*/ 0 w 11552"/>
              <a:gd name="T5" fmla="*/ 848 h 11328"/>
              <a:gd name="T6" fmla="*/ 848 w 11552"/>
              <a:gd name="T7" fmla="*/ 11328 h 11328"/>
              <a:gd name="T8" fmla="*/ 6032 w 11552"/>
              <a:gd name="T9" fmla="*/ 6656 h 11328"/>
              <a:gd name="T10" fmla="*/ 2048 w 11552"/>
              <a:gd name="T11" fmla="*/ 1392 h 11328"/>
              <a:gd name="T12" fmla="*/ 7152 w 11552"/>
              <a:gd name="T13" fmla="*/ 2096 h 11328"/>
              <a:gd name="T14" fmla="*/ 2048 w 11552"/>
              <a:gd name="T15" fmla="*/ 2800 h 11328"/>
              <a:gd name="T16" fmla="*/ 2048 w 11552"/>
              <a:gd name="T17" fmla="*/ 1392 h 11328"/>
              <a:gd name="T18" fmla="*/ 2048 w 11552"/>
              <a:gd name="T19" fmla="*/ 3552 h 11328"/>
              <a:gd name="T20" fmla="*/ 7152 w 11552"/>
              <a:gd name="T21" fmla="*/ 4256 h 11328"/>
              <a:gd name="T22" fmla="*/ 2048 w 11552"/>
              <a:gd name="T23" fmla="*/ 4960 h 11328"/>
              <a:gd name="T24" fmla="*/ 4240 w 11552"/>
              <a:gd name="T25" fmla="*/ 8160 h 11328"/>
              <a:gd name="T26" fmla="*/ 4240 w 11552"/>
              <a:gd name="T27" fmla="*/ 6080 h 11328"/>
              <a:gd name="T28" fmla="*/ 4240 w 11552"/>
              <a:gd name="T29" fmla="*/ 8160 h 11328"/>
              <a:gd name="T30" fmla="*/ 6512 w 11552"/>
              <a:gd name="T31" fmla="*/ 9088 h 11328"/>
              <a:gd name="T32" fmla="*/ 7632 w 11552"/>
              <a:gd name="T33" fmla="*/ 10768 h 11328"/>
              <a:gd name="T34" fmla="*/ 7632 w 11552"/>
              <a:gd name="T35" fmla="*/ 8528 h 11328"/>
              <a:gd name="T36" fmla="*/ 9552 w 11552"/>
              <a:gd name="T37" fmla="*/ 8400 h 11328"/>
              <a:gd name="T38" fmla="*/ 9168 w 11552"/>
              <a:gd name="T39" fmla="*/ 7824 h 11328"/>
              <a:gd name="T40" fmla="*/ 8976 w 11552"/>
              <a:gd name="T41" fmla="*/ 8208 h 11328"/>
              <a:gd name="T42" fmla="*/ 8896 w 11552"/>
              <a:gd name="T43" fmla="*/ 9264 h 11328"/>
              <a:gd name="T44" fmla="*/ 9104 w 11552"/>
              <a:gd name="T45" fmla="*/ 9632 h 11328"/>
              <a:gd name="T46" fmla="*/ 9552 w 11552"/>
              <a:gd name="T47" fmla="*/ 8400 h 11328"/>
              <a:gd name="T48" fmla="*/ 10480 w 11552"/>
              <a:gd name="T49" fmla="*/ 8128 h 11328"/>
              <a:gd name="T50" fmla="*/ 9824 w 11552"/>
              <a:gd name="T51" fmla="*/ 7216 h 11328"/>
              <a:gd name="T52" fmla="*/ 9664 w 11552"/>
              <a:gd name="T53" fmla="*/ 7632 h 11328"/>
              <a:gd name="T54" fmla="*/ 9520 w 11552"/>
              <a:gd name="T55" fmla="*/ 9888 h 11328"/>
              <a:gd name="T56" fmla="*/ 9696 w 11552"/>
              <a:gd name="T57" fmla="*/ 10288 h 11328"/>
              <a:gd name="T58" fmla="*/ 10496 w 11552"/>
              <a:gd name="T59" fmla="*/ 9072 h 11328"/>
              <a:gd name="T60" fmla="*/ 10768 w 11552"/>
              <a:gd name="T61" fmla="*/ 6688 h 11328"/>
              <a:gd name="T62" fmla="*/ 10336 w 11552"/>
              <a:gd name="T63" fmla="*/ 6832 h 11328"/>
              <a:gd name="T64" fmla="*/ 10896 w 11552"/>
              <a:gd name="T65" fmla="*/ 9520 h 11328"/>
              <a:gd name="T66" fmla="*/ 10128 w 11552"/>
              <a:gd name="T67" fmla="*/ 10784 h 11328"/>
              <a:gd name="T68" fmla="*/ 10528 w 11552"/>
              <a:gd name="T69" fmla="*/ 10960 h 11328"/>
              <a:gd name="T70" fmla="*/ 11504 w 11552"/>
              <a:gd name="T71" fmla="*/ 8336 h 1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2" h="11328">
                <a:moveTo>
                  <a:pt x="6928" y="5776"/>
                </a:moveTo>
                <a:lnTo>
                  <a:pt x="8480" y="5776"/>
                </a:lnTo>
                <a:lnTo>
                  <a:pt x="8480" y="848"/>
                </a:lnTo>
                <a:cubicBezTo>
                  <a:pt x="8480" y="384"/>
                  <a:pt x="8096" y="0"/>
                  <a:pt x="7632" y="0"/>
                </a:cubicBezTo>
                <a:lnTo>
                  <a:pt x="864" y="0"/>
                </a:lnTo>
                <a:cubicBezTo>
                  <a:pt x="384" y="0"/>
                  <a:pt x="0" y="384"/>
                  <a:pt x="0" y="848"/>
                </a:cubicBezTo>
                <a:lnTo>
                  <a:pt x="0" y="10480"/>
                </a:lnTo>
                <a:cubicBezTo>
                  <a:pt x="0" y="10944"/>
                  <a:pt x="384" y="11328"/>
                  <a:pt x="848" y="11328"/>
                </a:cubicBezTo>
                <a:lnTo>
                  <a:pt x="6032" y="11328"/>
                </a:lnTo>
                <a:lnTo>
                  <a:pt x="6032" y="6656"/>
                </a:lnTo>
                <a:cubicBezTo>
                  <a:pt x="6048" y="6176"/>
                  <a:pt x="6448" y="5776"/>
                  <a:pt x="6928" y="5776"/>
                </a:cubicBezTo>
                <a:close/>
                <a:moveTo>
                  <a:pt x="2048" y="1392"/>
                </a:moveTo>
                <a:lnTo>
                  <a:pt x="6448" y="1392"/>
                </a:lnTo>
                <a:cubicBezTo>
                  <a:pt x="6832" y="1392"/>
                  <a:pt x="7152" y="1712"/>
                  <a:pt x="7152" y="2096"/>
                </a:cubicBezTo>
                <a:cubicBezTo>
                  <a:pt x="7152" y="2480"/>
                  <a:pt x="6832" y="2800"/>
                  <a:pt x="6448" y="2800"/>
                </a:cubicBezTo>
                <a:lnTo>
                  <a:pt x="2048" y="2800"/>
                </a:lnTo>
                <a:cubicBezTo>
                  <a:pt x="1664" y="2800"/>
                  <a:pt x="1344" y="2480"/>
                  <a:pt x="1344" y="2096"/>
                </a:cubicBezTo>
                <a:cubicBezTo>
                  <a:pt x="1344" y="1712"/>
                  <a:pt x="1664" y="1392"/>
                  <a:pt x="2048" y="1392"/>
                </a:cubicBezTo>
                <a:close/>
                <a:moveTo>
                  <a:pt x="1344" y="4256"/>
                </a:moveTo>
                <a:cubicBezTo>
                  <a:pt x="1344" y="3872"/>
                  <a:pt x="1664" y="3552"/>
                  <a:pt x="2048" y="3552"/>
                </a:cubicBezTo>
                <a:lnTo>
                  <a:pt x="6448" y="3552"/>
                </a:lnTo>
                <a:cubicBezTo>
                  <a:pt x="6832" y="3552"/>
                  <a:pt x="7152" y="3872"/>
                  <a:pt x="7152" y="4256"/>
                </a:cubicBezTo>
                <a:cubicBezTo>
                  <a:pt x="7152" y="4640"/>
                  <a:pt x="6832" y="4960"/>
                  <a:pt x="6448" y="4960"/>
                </a:cubicBezTo>
                <a:lnTo>
                  <a:pt x="2048" y="4960"/>
                </a:lnTo>
                <a:cubicBezTo>
                  <a:pt x="1664" y="4944"/>
                  <a:pt x="1344" y="4624"/>
                  <a:pt x="1344" y="4256"/>
                </a:cubicBezTo>
                <a:close/>
                <a:moveTo>
                  <a:pt x="4240" y="8160"/>
                </a:moveTo>
                <a:cubicBezTo>
                  <a:pt x="3664" y="8160"/>
                  <a:pt x="3200" y="7696"/>
                  <a:pt x="3200" y="7120"/>
                </a:cubicBezTo>
                <a:cubicBezTo>
                  <a:pt x="3200" y="6544"/>
                  <a:pt x="3664" y="6080"/>
                  <a:pt x="4240" y="6080"/>
                </a:cubicBezTo>
                <a:cubicBezTo>
                  <a:pt x="4816" y="6080"/>
                  <a:pt x="5280" y="6544"/>
                  <a:pt x="5280" y="7120"/>
                </a:cubicBezTo>
                <a:cubicBezTo>
                  <a:pt x="5296" y="7696"/>
                  <a:pt x="4832" y="8160"/>
                  <a:pt x="4240" y="8160"/>
                </a:cubicBezTo>
                <a:close/>
                <a:moveTo>
                  <a:pt x="7632" y="6848"/>
                </a:moveTo>
                <a:lnTo>
                  <a:pt x="6512" y="9088"/>
                </a:lnTo>
                <a:lnTo>
                  <a:pt x="7632" y="9088"/>
                </a:lnTo>
                <a:lnTo>
                  <a:pt x="7632" y="10768"/>
                </a:lnTo>
                <a:lnTo>
                  <a:pt x="8752" y="8528"/>
                </a:lnTo>
                <a:lnTo>
                  <a:pt x="7632" y="8528"/>
                </a:lnTo>
                <a:lnTo>
                  <a:pt x="7632" y="6848"/>
                </a:lnTo>
                <a:close/>
                <a:moveTo>
                  <a:pt x="9552" y="8400"/>
                </a:moveTo>
                <a:cubicBezTo>
                  <a:pt x="9504" y="8112"/>
                  <a:pt x="9376" y="7952"/>
                  <a:pt x="9360" y="7920"/>
                </a:cubicBezTo>
                <a:cubicBezTo>
                  <a:pt x="9312" y="7856"/>
                  <a:pt x="9248" y="7824"/>
                  <a:pt x="9168" y="7824"/>
                </a:cubicBezTo>
                <a:cubicBezTo>
                  <a:pt x="9040" y="7824"/>
                  <a:pt x="8928" y="7936"/>
                  <a:pt x="8928" y="8064"/>
                </a:cubicBezTo>
                <a:cubicBezTo>
                  <a:pt x="8928" y="8112"/>
                  <a:pt x="8944" y="8176"/>
                  <a:pt x="8976" y="8208"/>
                </a:cubicBezTo>
                <a:cubicBezTo>
                  <a:pt x="8976" y="8208"/>
                  <a:pt x="9040" y="8304"/>
                  <a:pt x="9072" y="8480"/>
                </a:cubicBezTo>
                <a:cubicBezTo>
                  <a:pt x="9120" y="8736"/>
                  <a:pt x="9056" y="8992"/>
                  <a:pt x="8896" y="9264"/>
                </a:cubicBezTo>
                <a:cubicBezTo>
                  <a:pt x="8880" y="9296"/>
                  <a:pt x="8864" y="9344"/>
                  <a:pt x="8864" y="9392"/>
                </a:cubicBezTo>
                <a:cubicBezTo>
                  <a:pt x="8864" y="9520"/>
                  <a:pt x="8976" y="9632"/>
                  <a:pt x="9104" y="9632"/>
                </a:cubicBezTo>
                <a:cubicBezTo>
                  <a:pt x="9200" y="9632"/>
                  <a:pt x="9264" y="9584"/>
                  <a:pt x="9312" y="9520"/>
                </a:cubicBezTo>
                <a:cubicBezTo>
                  <a:pt x="9584" y="9056"/>
                  <a:pt x="9584" y="8656"/>
                  <a:pt x="9552" y="8400"/>
                </a:cubicBezTo>
                <a:close/>
                <a:moveTo>
                  <a:pt x="10496" y="9072"/>
                </a:moveTo>
                <a:cubicBezTo>
                  <a:pt x="10576" y="8752"/>
                  <a:pt x="10560" y="8432"/>
                  <a:pt x="10480" y="8128"/>
                </a:cubicBezTo>
                <a:cubicBezTo>
                  <a:pt x="10336" y="7600"/>
                  <a:pt x="10000" y="7296"/>
                  <a:pt x="9984" y="7280"/>
                </a:cubicBezTo>
                <a:cubicBezTo>
                  <a:pt x="9936" y="7248"/>
                  <a:pt x="9888" y="7216"/>
                  <a:pt x="9824" y="7216"/>
                </a:cubicBezTo>
                <a:cubicBezTo>
                  <a:pt x="9696" y="7216"/>
                  <a:pt x="9584" y="7328"/>
                  <a:pt x="9584" y="7456"/>
                </a:cubicBezTo>
                <a:cubicBezTo>
                  <a:pt x="9584" y="7520"/>
                  <a:pt x="9616" y="7584"/>
                  <a:pt x="9664" y="7632"/>
                </a:cubicBezTo>
                <a:cubicBezTo>
                  <a:pt x="9664" y="7632"/>
                  <a:pt x="9920" y="7872"/>
                  <a:pt x="10032" y="8272"/>
                </a:cubicBezTo>
                <a:cubicBezTo>
                  <a:pt x="10176" y="8800"/>
                  <a:pt x="10000" y="9344"/>
                  <a:pt x="9520" y="9888"/>
                </a:cubicBezTo>
                <a:cubicBezTo>
                  <a:pt x="9488" y="9936"/>
                  <a:pt x="9456" y="9984"/>
                  <a:pt x="9456" y="10048"/>
                </a:cubicBezTo>
                <a:cubicBezTo>
                  <a:pt x="9456" y="10176"/>
                  <a:pt x="9568" y="10288"/>
                  <a:pt x="9696" y="10288"/>
                </a:cubicBezTo>
                <a:cubicBezTo>
                  <a:pt x="9776" y="10288"/>
                  <a:pt x="9840" y="10256"/>
                  <a:pt x="9888" y="10208"/>
                </a:cubicBezTo>
                <a:cubicBezTo>
                  <a:pt x="10192" y="9840"/>
                  <a:pt x="10400" y="9456"/>
                  <a:pt x="10496" y="9072"/>
                </a:cubicBezTo>
                <a:close/>
                <a:moveTo>
                  <a:pt x="11504" y="8336"/>
                </a:moveTo>
                <a:cubicBezTo>
                  <a:pt x="11424" y="7776"/>
                  <a:pt x="11184" y="7216"/>
                  <a:pt x="10768" y="6688"/>
                </a:cubicBezTo>
                <a:cubicBezTo>
                  <a:pt x="10720" y="6624"/>
                  <a:pt x="10656" y="6592"/>
                  <a:pt x="10576" y="6592"/>
                </a:cubicBezTo>
                <a:cubicBezTo>
                  <a:pt x="10448" y="6592"/>
                  <a:pt x="10336" y="6704"/>
                  <a:pt x="10336" y="6832"/>
                </a:cubicBezTo>
                <a:cubicBezTo>
                  <a:pt x="10336" y="6880"/>
                  <a:pt x="10352" y="6944"/>
                  <a:pt x="10384" y="6976"/>
                </a:cubicBezTo>
                <a:cubicBezTo>
                  <a:pt x="11040" y="7808"/>
                  <a:pt x="11200" y="8656"/>
                  <a:pt x="10896" y="9520"/>
                </a:cubicBezTo>
                <a:cubicBezTo>
                  <a:pt x="10656" y="10176"/>
                  <a:pt x="10208" y="10592"/>
                  <a:pt x="10208" y="10608"/>
                </a:cubicBezTo>
                <a:cubicBezTo>
                  <a:pt x="10160" y="10656"/>
                  <a:pt x="10128" y="10720"/>
                  <a:pt x="10128" y="10784"/>
                </a:cubicBezTo>
                <a:cubicBezTo>
                  <a:pt x="10128" y="10912"/>
                  <a:pt x="10240" y="11024"/>
                  <a:pt x="10368" y="11024"/>
                </a:cubicBezTo>
                <a:cubicBezTo>
                  <a:pt x="10432" y="11024"/>
                  <a:pt x="10496" y="10992"/>
                  <a:pt x="10528" y="10960"/>
                </a:cubicBezTo>
                <a:cubicBezTo>
                  <a:pt x="10544" y="10944"/>
                  <a:pt x="11056" y="10464"/>
                  <a:pt x="11344" y="9712"/>
                </a:cubicBezTo>
                <a:cubicBezTo>
                  <a:pt x="11504" y="9264"/>
                  <a:pt x="11552" y="8800"/>
                  <a:pt x="11504" y="8336"/>
                </a:cubicBezTo>
                <a:close/>
              </a:path>
            </a:pathLst>
          </a:custGeom>
          <a:solidFill>
            <a:schemeClr val="bg1"/>
          </a:solidFill>
          <a:ln>
            <a:noFill/>
          </a:ln>
        </p:spPr>
      </p:sp>
      <p:sp>
        <p:nvSpPr>
          <p:cNvPr id="20" name="iconfont-10043-4933350"/>
          <p:cNvSpPr>
            <a:spLocks noChangeAspect="1"/>
          </p:cNvSpPr>
          <p:nvPr/>
        </p:nvSpPr>
        <p:spPr bwMode="auto">
          <a:xfrm>
            <a:off x="4110087" y="4474469"/>
            <a:ext cx="609685" cy="609685"/>
          </a:xfrm>
          <a:custGeom>
            <a:avLst/>
            <a:gdLst>
              <a:gd name="T0" fmla="*/ 5400 w 10800"/>
              <a:gd name="T1" fmla="*/ 10800 h 10800"/>
              <a:gd name="T2" fmla="*/ 0 w 10800"/>
              <a:gd name="T3" fmla="*/ 5400 h 10800"/>
              <a:gd name="T4" fmla="*/ 5400 w 10800"/>
              <a:gd name="T5" fmla="*/ 0 h 10800"/>
              <a:gd name="T6" fmla="*/ 10800 w 10800"/>
              <a:gd name="T7" fmla="*/ 5400 h 10800"/>
              <a:gd name="T8" fmla="*/ 5400 w 10800"/>
              <a:gd name="T9" fmla="*/ 10800 h 10800"/>
              <a:gd name="T10" fmla="*/ 5400 w 10800"/>
              <a:gd name="T11" fmla="*/ 800 h 10800"/>
              <a:gd name="T12" fmla="*/ 800 w 10800"/>
              <a:gd name="T13" fmla="*/ 5400 h 10800"/>
              <a:gd name="T14" fmla="*/ 5400 w 10800"/>
              <a:gd name="T15" fmla="*/ 10000 h 10800"/>
              <a:gd name="T16" fmla="*/ 10000 w 10800"/>
              <a:gd name="T17" fmla="*/ 5400 h 10800"/>
              <a:gd name="T18" fmla="*/ 5400 w 10800"/>
              <a:gd name="T19" fmla="*/ 800 h 10800"/>
              <a:gd name="T20" fmla="*/ 7400 w 10800"/>
              <a:gd name="T21" fmla="*/ 5880 h 10800"/>
              <a:gd name="T22" fmla="*/ 5800 w 10800"/>
              <a:gd name="T23" fmla="*/ 5880 h 10800"/>
              <a:gd name="T24" fmla="*/ 5800 w 10800"/>
              <a:gd name="T25" fmla="*/ 5080 h 10800"/>
              <a:gd name="T26" fmla="*/ 7400 w 10800"/>
              <a:gd name="T27" fmla="*/ 5080 h 10800"/>
              <a:gd name="T28" fmla="*/ 7800 w 10800"/>
              <a:gd name="T29" fmla="*/ 4680 h 10800"/>
              <a:gd name="T30" fmla="*/ 7400 w 10800"/>
              <a:gd name="T31" fmla="*/ 4280 h 10800"/>
              <a:gd name="T32" fmla="*/ 6280 w 10800"/>
              <a:gd name="T33" fmla="*/ 4280 h 10800"/>
              <a:gd name="T34" fmla="*/ 7380 w 10800"/>
              <a:gd name="T35" fmla="*/ 3180 h 10800"/>
              <a:gd name="T36" fmla="*/ 7380 w 10800"/>
              <a:gd name="T37" fmla="*/ 2620 h 10800"/>
              <a:gd name="T38" fmla="*/ 6820 w 10800"/>
              <a:gd name="T39" fmla="*/ 2620 h 10800"/>
              <a:gd name="T40" fmla="*/ 5400 w 10800"/>
              <a:gd name="T41" fmla="*/ 4040 h 10800"/>
              <a:gd name="T42" fmla="*/ 3980 w 10800"/>
              <a:gd name="T43" fmla="*/ 2620 h 10800"/>
              <a:gd name="T44" fmla="*/ 3420 w 10800"/>
              <a:gd name="T45" fmla="*/ 2620 h 10800"/>
              <a:gd name="T46" fmla="*/ 3420 w 10800"/>
              <a:gd name="T47" fmla="*/ 3180 h 10800"/>
              <a:gd name="T48" fmla="*/ 4520 w 10800"/>
              <a:gd name="T49" fmla="*/ 4280 h 10800"/>
              <a:gd name="T50" fmla="*/ 3400 w 10800"/>
              <a:gd name="T51" fmla="*/ 4280 h 10800"/>
              <a:gd name="T52" fmla="*/ 3000 w 10800"/>
              <a:gd name="T53" fmla="*/ 4680 h 10800"/>
              <a:gd name="T54" fmla="*/ 3400 w 10800"/>
              <a:gd name="T55" fmla="*/ 5080 h 10800"/>
              <a:gd name="T56" fmla="*/ 5000 w 10800"/>
              <a:gd name="T57" fmla="*/ 5080 h 10800"/>
              <a:gd name="T58" fmla="*/ 5000 w 10800"/>
              <a:gd name="T59" fmla="*/ 5880 h 10800"/>
              <a:gd name="T60" fmla="*/ 3400 w 10800"/>
              <a:gd name="T61" fmla="*/ 5880 h 10800"/>
              <a:gd name="T62" fmla="*/ 3000 w 10800"/>
              <a:gd name="T63" fmla="*/ 6280 h 10800"/>
              <a:gd name="T64" fmla="*/ 3400 w 10800"/>
              <a:gd name="T65" fmla="*/ 6680 h 10800"/>
              <a:gd name="T66" fmla="*/ 5000 w 10800"/>
              <a:gd name="T67" fmla="*/ 6680 h 10800"/>
              <a:gd name="T68" fmla="*/ 5000 w 10800"/>
              <a:gd name="T69" fmla="*/ 8280 h 10800"/>
              <a:gd name="T70" fmla="*/ 5400 w 10800"/>
              <a:gd name="T71" fmla="*/ 8680 h 10800"/>
              <a:gd name="T72" fmla="*/ 5800 w 10800"/>
              <a:gd name="T73" fmla="*/ 8280 h 10800"/>
              <a:gd name="T74" fmla="*/ 5800 w 10800"/>
              <a:gd name="T75" fmla="*/ 6680 h 10800"/>
              <a:gd name="T76" fmla="*/ 7400 w 10800"/>
              <a:gd name="T77" fmla="*/ 6680 h 10800"/>
              <a:gd name="T78" fmla="*/ 7800 w 10800"/>
              <a:gd name="T79" fmla="*/ 6280 h 10800"/>
              <a:gd name="T80" fmla="*/ 7400 w 10800"/>
              <a:gd name="T81" fmla="*/ 5880 h 10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00" h="10800">
                <a:moveTo>
                  <a:pt x="5400" y="10800"/>
                </a:moveTo>
                <a:cubicBezTo>
                  <a:pt x="2420" y="10800"/>
                  <a:pt x="0" y="8380"/>
                  <a:pt x="0" y="5400"/>
                </a:cubicBezTo>
                <a:cubicBezTo>
                  <a:pt x="0" y="2420"/>
                  <a:pt x="2420" y="0"/>
                  <a:pt x="5400" y="0"/>
                </a:cubicBezTo>
                <a:cubicBezTo>
                  <a:pt x="8380" y="0"/>
                  <a:pt x="10800" y="2420"/>
                  <a:pt x="10800" y="5400"/>
                </a:cubicBezTo>
                <a:cubicBezTo>
                  <a:pt x="10800" y="8380"/>
                  <a:pt x="8380" y="10800"/>
                  <a:pt x="5400" y="10800"/>
                </a:cubicBezTo>
                <a:close/>
                <a:moveTo>
                  <a:pt x="5400" y="800"/>
                </a:moveTo>
                <a:cubicBezTo>
                  <a:pt x="2860" y="800"/>
                  <a:pt x="800" y="2860"/>
                  <a:pt x="800" y="5400"/>
                </a:cubicBezTo>
                <a:cubicBezTo>
                  <a:pt x="800" y="7940"/>
                  <a:pt x="2860" y="10000"/>
                  <a:pt x="5400" y="10000"/>
                </a:cubicBezTo>
                <a:cubicBezTo>
                  <a:pt x="7940" y="10000"/>
                  <a:pt x="10000" y="7940"/>
                  <a:pt x="10000" y="5400"/>
                </a:cubicBezTo>
                <a:cubicBezTo>
                  <a:pt x="10000" y="2860"/>
                  <a:pt x="7940" y="800"/>
                  <a:pt x="5400" y="800"/>
                </a:cubicBezTo>
                <a:close/>
                <a:moveTo>
                  <a:pt x="7400" y="5880"/>
                </a:moveTo>
                <a:lnTo>
                  <a:pt x="5800" y="5880"/>
                </a:lnTo>
                <a:lnTo>
                  <a:pt x="5800" y="5080"/>
                </a:lnTo>
                <a:lnTo>
                  <a:pt x="7400" y="5080"/>
                </a:lnTo>
                <a:cubicBezTo>
                  <a:pt x="7620" y="5080"/>
                  <a:pt x="7800" y="4900"/>
                  <a:pt x="7800" y="4680"/>
                </a:cubicBezTo>
                <a:cubicBezTo>
                  <a:pt x="7800" y="4460"/>
                  <a:pt x="7620" y="4280"/>
                  <a:pt x="7400" y="4280"/>
                </a:cubicBezTo>
                <a:lnTo>
                  <a:pt x="6280" y="4280"/>
                </a:lnTo>
                <a:lnTo>
                  <a:pt x="7380" y="3180"/>
                </a:lnTo>
                <a:cubicBezTo>
                  <a:pt x="7540" y="3020"/>
                  <a:pt x="7540" y="2780"/>
                  <a:pt x="7380" y="2620"/>
                </a:cubicBezTo>
                <a:cubicBezTo>
                  <a:pt x="7220" y="2460"/>
                  <a:pt x="6980" y="2460"/>
                  <a:pt x="6820" y="2620"/>
                </a:cubicBezTo>
                <a:lnTo>
                  <a:pt x="5400" y="4040"/>
                </a:lnTo>
                <a:lnTo>
                  <a:pt x="3980" y="2620"/>
                </a:lnTo>
                <a:cubicBezTo>
                  <a:pt x="3820" y="2460"/>
                  <a:pt x="3580" y="2460"/>
                  <a:pt x="3420" y="2620"/>
                </a:cubicBezTo>
                <a:cubicBezTo>
                  <a:pt x="3260" y="2780"/>
                  <a:pt x="3260" y="3020"/>
                  <a:pt x="3420" y="3180"/>
                </a:cubicBezTo>
                <a:lnTo>
                  <a:pt x="4520" y="4280"/>
                </a:lnTo>
                <a:lnTo>
                  <a:pt x="3400" y="4280"/>
                </a:lnTo>
                <a:cubicBezTo>
                  <a:pt x="3180" y="4280"/>
                  <a:pt x="3000" y="4460"/>
                  <a:pt x="3000" y="4680"/>
                </a:cubicBezTo>
                <a:cubicBezTo>
                  <a:pt x="3000" y="4900"/>
                  <a:pt x="3180" y="5080"/>
                  <a:pt x="3400" y="5080"/>
                </a:cubicBezTo>
                <a:lnTo>
                  <a:pt x="5000" y="5080"/>
                </a:lnTo>
                <a:lnTo>
                  <a:pt x="5000" y="5880"/>
                </a:lnTo>
                <a:lnTo>
                  <a:pt x="3400" y="5880"/>
                </a:lnTo>
                <a:cubicBezTo>
                  <a:pt x="3180" y="5880"/>
                  <a:pt x="3000" y="6060"/>
                  <a:pt x="3000" y="6280"/>
                </a:cubicBezTo>
                <a:cubicBezTo>
                  <a:pt x="3000" y="6500"/>
                  <a:pt x="3180" y="6680"/>
                  <a:pt x="3400" y="6680"/>
                </a:cubicBezTo>
                <a:lnTo>
                  <a:pt x="5000" y="6680"/>
                </a:lnTo>
                <a:lnTo>
                  <a:pt x="5000" y="8280"/>
                </a:lnTo>
                <a:cubicBezTo>
                  <a:pt x="5000" y="8500"/>
                  <a:pt x="5180" y="8680"/>
                  <a:pt x="5400" y="8680"/>
                </a:cubicBezTo>
                <a:cubicBezTo>
                  <a:pt x="5620" y="8680"/>
                  <a:pt x="5800" y="8500"/>
                  <a:pt x="5800" y="8280"/>
                </a:cubicBezTo>
                <a:lnTo>
                  <a:pt x="5800" y="6680"/>
                </a:lnTo>
                <a:lnTo>
                  <a:pt x="7400" y="6680"/>
                </a:lnTo>
                <a:cubicBezTo>
                  <a:pt x="7620" y="6680"/>
                  <a:pt x="7800" y="6500"/>
                  <a:pt x="7800" y="6280"/>
                </a:cubicBezTo>
                <a:cubicBezTo>
                  <a:pt x="7800" y="6060"/>
                  <a:pt x="7620" y="5880"/>
                  <a:pt x="7400" y="5880"/>
                </a:cubicBezTo>
                <a:close/>
              </a:path>
            </a:pathLst>
          </a:custGeom>
          <a:solidFill>
            <a:schemeClr val="bg1"/>
          </a:solidFill>
          <a:ln>
            <a:noFill/>
          </a:ln>
        </p:spPr>
      </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en-US" altLang="zh-CN" sz="3200">
                <a:solidFill>
                  <a:schemeClr val="tx1">
                    <a:lumMod val="75000"/>
                    <a:lumOff val="25000"/>
                  </a:schemeClr>
                </a:solidFill>
                <a:latin typeface="站酷快乐体" panose="02010600030101010101" charset="-128"/>
                <a:ea typeface="站酷快乐体" panose="02010600030101010101" charset="-128"/>
              </a:rPr>
              <a:t>ER</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9" name="矩形 38"/>
          <p:cNvSpPr/>
          <p:nvPr/>
        </p:nvSpPr>
        <p:spPr>
          <a:xfrm>
            <a:off x="494030" y="1060450"/>
            <a:ext cx="723900" cy="4737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工作流程和组员分工</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3" name="图片 2" descr="222"/>
          <p:cNvPicPr>
            <a:picLocks noChangeAspect="1"/>
          </p:cNvPicPr>
          <p:nvPr/>
        </p:nvPicPr>
        <p:blipFill>
          <a:blip r:embed="rId1"/>
          <a:stretch>
            <a:fillRect/>
          </a:stretch>
        </p:blipFill>
        <p:spPr>
          <a:xfrm>
            <a:off x="2428875" y="181610"/>
            <a:ext cx="8362315" cy="610552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en-US" altLang="zh-CN" sz="3200">
                <a:solidFill>
                  <a:schemeClr val="tx1">
                    <a:lumMod val="75000"/>
                    <a:lumOff val="25000"/>
                  </a:schemeClr>
                </a:solidFill>
                <a:latin typeface="站酷快乐体" panose="02010600030101010101" charset="-128"/>
                <a:ea typeface="站酷快乐体" panose="02010600030101010101" charset="-128"/>
              </a:rPr>
              <a:t>ER</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39" name="矩形 38"/>
          <p:cNvSpPr/>
          <p:nvPr/>
        </p:nvSpPr>
        <p:spPr>
          <a:xfrm>
            <a:off x="494030" y="1210945"/>
            <a:ext cx="723900" cy="35318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组员贡献度比例</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2" name="图片 1"/>
          <p:cNvPicPr>
            <a:picLocks noChangeAspect="1"/>
          </p:cNvPicPr>
          <p:nvPr>
            <p:custDataLst>
              <p:tags r:id="rId1"/>
            </p:custDataLst>
          </p:nvPr>
        </p:nvPicPr>
        <p:blipFill>
          <a:blip r:embed="rId2"/>
          <a:stretch>
            <a:fillRect/>
          </a:stretch>
        </p:blipFill>
        <p:spPr>
          <a:xfrm>
            <a:off x="1024890" y="1332865"/>
            <a:ext cx="10672445" cy="419163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1797141"/>
            <a:ext cx="12192000" cy="3263718"/>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rot="18900000">
            <a:off x="5154557" y="1936338"/>
            <a:ext cx="2985324" cy="2985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18900000">
            <a:off x="3585301" y="3886003"/>
            <a:ext cx="1724108" cy="1724108"/>
          </a:xfrm>
          <a:prstGeom prst="rect">
            <a:avLst/>
          </a:prstGeom>
          <a:solidFill>
            <a:schemeClr val="accent1"/>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18900000">
            <a:off x="2273566" y="2581459"/>
            <a:ext cx="1724108" cy="1724108"/>
          </a:xfrm>
          <a:prstGeom prst="rect">
            <a:avLst/>
          </a:prstGeom>
          <a:solidFill>
            <a:schemeClr val="accent3"/>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18900000">
            <a:off x="3582373" y="1249635"/>
            <a:ext cx="1724108" cy="1724108"/>
          </a:xfrm>
          <a:prstGeom prst="rect">
            <a:avLst/>
          </a:prstGeom>
          <a:solidFill>
            <a:schemeClr val="accent2"/>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文本框 12"/>
          <p:cNvSpPr txBox="1"/>
          <p:nvPr/>
        </p:nvSpPr>
        <p:spPr>
          <a:xfrm>
            <a:off x="5946925" y="2327699"/>
            <a:ext cx="1207454" cy="1003102"/>
          </a:xfrm>
          <a:prstGeom prst="rect">
            <a:avLst/>
          </a:prstGeom>
          <a:noFill/>
          <a:ln w="117475">
            <a:noFill/>
          </a:ln>
        </p:spPr>
        <p:txBody>
          <a:bodyPr wrap="none" rtlCol="0">
            <a:prstTxWarp prst="textPlain">
              <a:avLst/>
            </a:prstTxWarp>
            <a:spAutoFit/>
          </a:bodyPr>
          <a:lstStyle/>
          <a:p>
            <a:r>
              <a:rPr lang="en-US" altLang="zh-CN"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8</a:t>
            </a:r>
            <a:endParaRPr lang="zh-CN" altLang="en-US"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
        <p:nvSpPr>
          <p:cNvPr id="15" name="矩形 14"/>
          <p:cNvSpPr/>
          <p:nvPr/>
        </p:nvSpPr>
        <p:spPr>
          <a:xfrm>
            <a:off x="5133975" y="3331210"/>
            <a:ext cx="3027680" cy="583565"/>
          </a:xfrm>
          <a:prstGeom prst="rect">
            <a:avLst/>
          </a:prstGeom>
        </p:spPr>
        <p:txBody>
          <a:bodyPr wrap="square">
            <a:spAutoFit/>
          </a:bodyPr>
          <a:lstStyle/>
          <a:p>
            <a:pPr algn="ctr">
              <a:spcBef>
                <a:spcPct val="0"/>
              </a:spcBef>
            </a:pPr>
            <a:r>
              <a:rPr lang="zh-CN" altLang="en-US" sz="3200" dirty="0">
                <a:latin typeface="站酷快乐体" panose="02010600030101010101" charset="-128"/>
                <a:ea typeface="站酷快乐体" panose="02010600030101010101" charset="-128"/>
                <a:sym typeface="思源黑体" panose="020B0400000000000000" pitchFamily="34" charset="-122"/>
              </a:rPr>
              <a:t>存在问题和建议</a:t>
            </a:r>
            <a:endParaRPr lang="zh-CN" altLang="en-US" sz="3200" dirty="0">
              <a:solidFill>
                <a:schemeClr val="tx1">
                  <a:lumMod val="75000"/>
                  <a:lumOff val="25000"/>
                </a:schemeClr>
              </a:solidFill>
              <a:latin typeface="汉仪粗圆简" panose="02010600000101010101" charset="-122"/>
              <a:ea typeface="汉仪粗圆简" panose="02010600000101010101" charset="-122"/>
            </a:endParaRPr>
          </a:p>
        </p:txBody>
      </p:sp>
      <p:grpSp>
        <p:nvGrpSpPr>
          <p:cNvPr id="5" name="组合 4"/>
          <p:cNvGrpSpPr/>
          <p:nvPr/>
        </p:nvGrpSpPr>
        <p:grpSpPr>
          <a:xfrm>
            <a:off x="4612405" y="1091381"/>
            <a:ext cx="4069626" cy="4599650"/>
            <a:chOff x="5550217" y="1317873"/>
            <a:chExt cx="3668840" cy="4146666"/>
          </a:xfrm>
        </p:grpSpPr>
        <p:sp>
          <p:nvSpPr>
            <p:cNvPr id="16" name="矩形 22"/>
            <p:cNvSpPr/>
            <p:nvPr/>
          </p:nvSpPr>
          <p:spPr>
            <a:xfrm rot="18900000" flipV="1">
              <a:off x="5550217" y="1317873"/>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22"/>
            <p:cNvSpPr/>
            <p:nvPr/>
          </p:nvSpPr>
          <p:spPr>
            <a:xfrm rot="2700000">
              <a:off x="5550217" y="1795699"/>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8" name="iconfont-10459-4813179"/>
          <p:cNvSpPr>
            <a:spLocks noChangeAspect="1"/>
          </p:cNvSpPr>
          <p:nvPr/>
        </p:nvSpPr>
        <p:spPr bwMode="auto">
          <a:xfrm>
            <a:off x="4231433" y="1797141"/>
            <a:ext cx="609685" cy="600087"/>
          </a:xfrm>
          <a:custGeom>
            <a:avLst/>
            <a:gdLst>
              <a:gd name="T0" fmla="*/ 5779 w 11379"/>
              <a:gd name="T1" fmla="*/ 0 h 11200"/>
              <a:gd name="T2" fmla="*/ 711 w 11379"/>
              <a:gd name="T3" fmla="*/ 3215 h 11200"/>
              <a:gd name="T4" fmla="*/ 711 w 11379"/>
              <a:gd name="T5" fmla="*/ 7985 h 11200"/>
              <a:gd name="T6" fmla="*/ 5779 w 11379"/>
              <a:gd name="T7" fmla="*/ 11200 h 11200"/>
              <a:gd name="T8" fmla="*/ 11379 w 11379"/>
              <a:gd name="T9" fmla="*/ 5600 h 11200"/>
              <a:gd name="T10" fmla="*/ 5779 w 11379"/>
              <a:gd name="T11" fmla="*/ 0 h 11200"/>
              <a:gd name="T12" fmla="*/ 979 w 11379"/>
              <a:gd name="T13" fmla="*/ 5600 h 11200"/>
              <a:gd name="T14" fmla="*/ 1244 w 11379"/>
              <a:gd name="T15" fmla="*/ 4022 h 11200"/>
              <a:gd name="T16" fmla="*/ 2581 w 11379"/>
              <a:gd name="T17" fmla="*/ 5600 h 11200"/>
              <a:gd name="T18" fmla="*/ 1244 w 11379"/>
              <a:gd name="T19" fmla="*/ 7178 h 11200"/>
              <a:gd name="T20" fmla="*/ 979 w 11379"/>
              <a:gd name="T21" fmla="*/ 5600 h 11200"/>
              <a:gd name="T22" fmla="*/ 9173 w 11379"/>
              <a:gd name="T23" fmla="*/ 8994 h 11200"/>
              <a:gd name="T24" fmla="*/ 5109 w 11379"/>
              <a:gd name="T25" fmla="*/ 10352 h 11200"/>
              <a:gd name="T26" fmla="*/ 1578 w 11379"/>
              <a:gd name="T27" fmla="*/ 7925 h 11200"/>
              <a:gd name="T28" fmla="*/ 3379 w 11379"/>
              <a:gd name="T29" fmla="*/ 5600 h 11200"/>
              <a:gd name="T30" fmla="*/ 1578 w 11379"/>
              <a:gd name="T31" fmla="*/ 3276 h 11200"/>
              <a:gd name="T32" fmla="*/ 4778 w 11379"/>
              <a:gd name="T33" fmla="*/ 901 h 11200"/>
              <a:gd name="T34" fmla="*/ 8669 w 11379"/>
              <a:gd name="T35" fmla="*/ 1761 h 11200"/>
              <a:gd name="T36" fmla="*/ 10571 w 11379"/>
              <a:gd name="T37" fmla="*/ 5263 h 11200"/>
              <a:gd name="T38" fmla="*/ 9173 w 11379"/>
              <a:gd name="T39" fmla="*/ 8994 h 11200"/>
              <a:gd name="T40" fmla="*/ 10179 w 11379"/>
              <a:gd name="T41" fmla="*/ 2400 h 11200"/>
              <a:gd name="T42" fmla="*/ 1379 w 11379"/>
              <a:gd name="T43" fmla="*/ 2400 h 11200"/>
              <a:gd name="T44" fmla="*/ 1379 w 11379"/>
              <a:gd name="T45" fmla="*/ 3200 h 11200"/>
              <a:gd name="T46" fmla="*/ 10179 w 11379"/>
              <a:gd name="T47" fmla="*/ 3200 h 11200"/>
              <a:gd name="T48" fmla="*/ 10179 w 11379"/>
              <a:gd name="T49" fmla="*/ 2400 h 11200"/>
              <a:gd name="T50" fmla="*/ 10179 w 11379"/>
              <a:gd name="T51" fmla="*/ 8000 h 11200"/>
              <a:gd name="T52" fmla="*/ 1379 w 11379"/>
              <a:gd name="T53" fmla="*/ 8000 h 11200"/>
              <a:gd name="T54" fmla="*/ 1379 w 11379"/>
              <a:gd name="T55" fmla="*/ 8800 h 11200"/>
              <a:gd name="T56" fmla="*/ 10179 w 11379"/>
              <a:gd name="T57" fmla="*/ 8800 h 11200"/>
              <a:gd name="T58" fmla="*/ 10179 w 11379"/>
              <a:gd name="T59" fmla="*/ 8000 h 11200"/>
              <a:gd name="T60" fmla="*/ 5379 w 11379"/>
              <a:gd name="T61" fmla="*/ 3600 h 11200"/>
              <a:gd name="T62" fmla="*/ 3779 w 11379"/>
              <a:gd name="T63" fmla="*/ 3600 h 11200"/>
              <a:gd name="T64" fmla="*/ 3779 w 11379"/>
              <a:gd name="T65" fmla="*/ 5200 h 11200"/>
              <a:gd name="T66" fmla="*/ 5379 w 11379"/>
              <a:gd name="T67" fmla="*/ 5200 h 11200"/>
              <a:gd name="T68" fmla="*/ 5379 w 11379"/>
              <a:gd name="T69" fmla="*/ 3600 h 11200"/>
              <a:gd name="T70" fmla="*/ 5379 w 11379"/>
              <a:gd name="T71" fmla="*/ 6000 h 11200"/>
              <a:gd name="T72" fmla="*/ 3779 w 11379"/>
              <a:gd name="T73" fmla="*/ 6000 h 11200"/>
              <a:gd name="T74" fmla="*/ 3779 w 11379"/>
              <a:gd name="T75" fmla="*/ 7600 h 11200"/>
              <a:gd name="T76" fmla="*/ 5379 w 11379"/>
              <a:gd name="T77" fmla="*/ 7600 h 11200"/>
              <a:gd name="T78" fmla="*/ 5379 w 11379"/>
              <a:gd name="T79" fmla="*/ 6000 h 11200"/>
              <a:gd name="T80" fmla="*/ 7379 w 11379"/>
              <a:gd name="T81" fmla="*/ 3600 h 11200"/>
              <a:gd name="T82" fmla="*/ 5779 w 11379"/>
              <a:gd name="T83" fmla="*/ 3600 h 11200"/>
              <a:gd name="T84" fmla="*/ 5779 w 11379"/>
              <a:gd name="T85" fmla="*/ 5200 h 11200"/>
              <a:gd name="T86" fmla="*/ 7379 w 11379"/>
              <a:gd name="T87" fmla="*/ 5200 h 11200"/>
              <a:gd name="T88" fmla="*/ 7379 w 11379"/>
              <a:gd name="T89" fmla="*/ 3600 h 11200"/>
              <a:gd name="T90" fmla="*/ 7379 w 11379"/>
              <a:gd name="T91" fmla="*/ 6000 h 11200"/>
              <a:gd name="T92" fmla="*/ 5779 w 11379"/>
              <a:gd name="T93" fmla="*/ 6000 h 11200"/>
              <a:gd name="T94" fmla="*/ 5779 w 11379"/>
              <a:gd name="T95" fmla="*/ 7600 h 11200"/>
              <a:gd name="T96" fmla="*/ 7379 w 11379"/>
              <a:gd name="T97" fmla="*/ 7600 h 11200"/>
              <a:gd name="T98" fmla="*/ 7379 w 11379"/>
              <a:gd name="T99" fmla="*/ 6000 h 11200"/>
              <a:gd name="T100" fmla="*/ 9379 w 11379"/>
              <a:gd name="T101" fmla="*/ 3600 h 11200"/>
              <a:gd name="T102" fmla="*/ 7779 w 11379"/>
              <a:gd name="T103" fmla="*/ 3600 h 11200"/>
              <a:gd name="T104" fmla="*/ 7779 w 11379"/>
              <a:gd name="T105" fmla="*/ 5200 h 11200"/>
              <a:gd name="T106" fmla="*/ 9379 w 11379"/>
              <a:gd name="T107" fmla="*/ 5200 h 11200"/>
              <a:gd name="T108" fmla="*/ 9379 w 11379"/>
              <a:gd name="T109" fmla="*/ 3600 h 11200"/>
              <a:gd name="T110" fmla="*/ 9379 w 11379"/>
              <a:gd name="T111" fmla="*/ 6000 h 11200"/>
              <a:gd name="T112" fmla="*/ 7779 w 11379"/>
              <a:gd name="T113" fmla="*/ 6000 h 11200"/>
              <a:gd name="T114" fmla="*/ 7779 w 11379"/>
              <a:gd name="T115" fmla="*/ 7600 h 11200"/>
              <a:gd name="T116" fmla="*/ 9379 w 11379"/>
              <a:gd name="T117" fmla="*/ 7600 h 11200"/>
              <a:gd name="T118" fmla="*/ 9379 w 11379"/>
              <a:gd name="T119" fmla="*/ 60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9" h="11200">
                <a:moveTo>
                  <a:pt x="5779" y="0"/>
                </a:moveTo>
                <a:cubicBezTo>
                  <a:pt x="3539" y="0"/>
                  <a:pt x="1607" y="1315"/>
                  <a:pt x="711" y="3215"/>
                </a:cubicBezTo>
                <a:cubicBezTo>
                  <a:pt x="0" y="4726"/>
                  <a:pt x="0" y="6474"/>
                  <a:pt x="711" y="7985"/>
                </a:cubicBezTo>
                <a:cubicBezTo>
                  <a:pt x="1607" y="9885"/>
                  <a:pt x="3539" y="11200"/>
                  <a:pt x="5779" y="11200"/>
                </a:cubicBezTo>
                <a:cubicBezTo>
                  <a:pt x="8872" y="11200"/>
                  <a:pt x="11379" y="8693"/>
                  <a:pt x="11379" y="5600"/>
                </a:cubicBezTo>
                <a:cubicBezTo>
                  <a:pt x="11379" y="2507"/>
                  <a:pt x="8872" y="0"/>
                  <a:pt x="5779" y="0"/>
                </a:cubicBezTo>
                <a:close/>
                <a:moveTo>
                  <a:pt x="979" y="5600"/>
                </a:moveTo>
                <a:cubicBezTo>
                  <a:pt x="978" y="5063"/>
                  <a:pt x="1068" y="4529"/>
                  <a:pt x="1244" y="4022"/>
                </a:cubicBezTo>
                <a:cubicBezTo>
                  <a:pt x="2016" y="4151"/>
                  <a:pt x="2581" y="4818"/>
                  <a:pt x="2581" y="5600"/>
                </a:cubicBezTo>
                <a:cubicBezTo>
                  <a:pt x="2581" y="6382"/>
                  <a:pt x="2016" y="7050"/>
                  <a:pt x="1244" y="7178"/>
                </a:cubicBezTo>
                <a:cubicBezTo>
                  <a:pt x="1068" y="6671"/>
                  <a:pt x="978" y="6137"/>
                  <a:pt x="979" y="5600"/>
                </a:cubicBezTo>
                <a:close/>
                <a:moveTo>
                  <a:pt x="9173" y="8994"/>
                </a:moveTo>
                <a:cubicBezTo>
                  <a:pt x="8107" y="10059"/>
                  <a:pt x="6602" y="10562"/>
                  <a:pt x="5109" y="10352"/>
                </a:cubicBezTo>
                <a:cubicBezTo>
                  <a:pt x="3617" y="10142"/>
                  <a:pt x="2309" y="9243"/>
                  <a:pt x="1578" y="7925"/>
                </a:cubicBezTo>
                <a:cubicBezTo>
                  <a:pt x="2638" y="7651"/>
                  <a:pt x="3379" y="6695"/>
                  <a:pt x="3379" y="5600"/>
                </a:cubicBezTo>
                <a:cubicBezTo>
                  <a:pt x="3379" y="4506"/>
                  <a:pt x="2638" y="3549"/>
                  <a:pt x="1578" y="3276"/>
                </a:cubicBezTo>
                <a:cubicBezTo>
                  <a:pt x="2251" y="2058"/>
                  <a:pt x="3418" y="1192"/>
                  <a:pt x="4778" y="901"/>
                </a:cubicBezTo>
                <a:cubicBezTo>
                  <a:pt x="6138" y="611"/>
                  <a:pt x="7558" y="924"/>
                  <a:pt x="8669" y="1761"/>
                </a:cubicBezTo>
                <a:cubicBezTo>
                  <a:pt x="9780" y="2598"/>
                  <a:pt x="10474" y="3875"/>
                  <a:pt x="10571" y="5263"/>
                </a:cubicBezTo>
                <a:cubicBezTo>
                  <a:pt x="10667" y="6650"/>
                  <a:pt x="10157" y="8011"/>
                  <a:pt x="9173" y="8994"/>
                </a:cubicBezTo>
                <a:close/>
                <a:moveTo>
                  <a:pt x="10179" y="2400"/>
                </a:moveTo>
                <a:lnTo>
                  <a:pt x="1379" y="2400"/>
                </a:lnTo>
                <a:lnTo>
                  <a:pt x="1379" y="3200"/>
                </a:lnTo>
                <a:lnTo>
                  <a:pt x="10179" y="3200"/>
                </a:lnTo>
                <a:lnTo>
                  <a:pt x="10179" y="2400"/>
                </a:lnTo>
                <a:close/>
                <a:moveTo>
                  <a:pt x="10179" y="8000"/>
                </a:moveTo>
                <a:lnTo>
                  <a:pt x="1379" y="8000"/>
                </a:lnTo>
                <a:lnTo>
                  <a:pt x="1379" y="8800"/>
                </a:lnTo>
                <a:lnTo>
                  <a:pt x="10179" y="8800"/>
                </a:lnTo>
                <a:lnTo>
                  <a:pt x="10179" y="8000"/>
                </a:lnTo>
                <a:close/>
                <a:moveTo>
                  <a:pt x="5379" y="3600"/>
                </a:moveTo>
                <a:lnTo>
                  <a:pt x="3779" y="3600"/>
                </a:lnTo>
                <a:lnTo>
                  <a:pt x="3779" y="5200"/>
                </a:lnTo>
                <a:lnTo>
                  <a:pt x="5379" y="5200"/>
                </a:lnTo>
                <a:lnTo>
                  <a:pt x="5379" y="3600"/>
                </a:lnTo>
                <a:close/>
                <a:moveTo>
                  <a:pt x="5379" y="6000"/>
                </a:moveTo>
                <a:lnTo>
                  <a:pt x="3779" y="6000"/>
                </a:lnTo>
                <a:lnTo>
                  <a:pt x="3779" y="7600"/>
                </a:lnTo>
                <a:lnTo>
                  <a:pt x="5379" y="7600"/>
                </a:lnTo>
                <a:lnTo>
                  <a:pt x="5379" y="6000"/>
                </a:lnTo>
                <a:close/>
                <a:moveTo>
                  <a:pt x="7379" y="3600"/>
                </a:moveTo>
                <a:lnTo>
                  <a:pt x="5779" y="3600"/>
                </a:lnTo>
                <a:lnTo>
                  <a:pt x="5779" y="5200"/>
                </a:lnTo>
                <a:lnTo>
                  <a:pt x="7379" y="5200"/>
                </a:lnTo>
                <a:lnTo>
                  <a:pt x="7379" y="3600"/>
                </a:lnTo>
                <a:close/>
                <a:moveTo>
                  <a:pt x="7379" y="6000"/>
                </a:moveTo>
                <a:lnTo>
                  <a:pt x="5779" y="6000"/>
                </a:lnTo>
                <a:lnTo>
                  <a:pt x="5779" y="7600"/>
                </a:lnTo>
                <a:lnTo>
                  <a:pt x="7379" y="7600"/>
                </a:lnTo>
                <a:lnTo>
                  <a:pt x="7379" y="6000"/>
                </a:lnTo>
                <a:close/>
                <a:moveTo>
                  <a:pt x="9379" y="3600"/>
                </a:moveTo>
                <a:lnTo>
                  <a:pt x="7779" y="3600"/>
                </a:lnTo>
                <a:lnTo>
                  <a:pt x="7779" y="5200"/>
                </a:lnTo>
                <a:lnTo>
                  <a:pt x="9379" y="5200"/>
                </a:lnTo>
                <a:lnTo>
                  <a:pt x="9379" y="3600"/>
                </a:lnTo>
                <a:close/>
                <a:moveTo>
                  <a:pt x="9379" y="6000"/>
                </a:moveTo>
                <a:lnTo>
                  <a:pt x="7779" y="6000"/>
                </a:lnTo>
                <a:lnTo>
                  <a:pt x="7779" y="7600"/>
                </a:lnTo>
                <a:lnTo>
                  <a:pt x="9379" y="7600"/>
                </a:lnTo>
                <a:lnTo>
                  <a:pt x="9379" y="6000"/>
                </a:lnTo>
                <a:close/>
              </a:path>
            </a:pathLst>
          </a:custGeom>
          <a:solidFill>
            <a:schemeClr val="bg1"/>
          </a:solidFill>
          <a:ln>
            <a:noFill/>
          </a:ln>
        </p:spPr>
      </p:sp>
      <p:sp>
        <p:nvSpPr>
          <p:cNvPr id="19" name="iconfont-10459-4813181"/>
          <p:cNvSpPr>
            <a:spLocks noChangeAspect="1"/>
          </p:cNvSpPr>
          <p:nvPr/>
        </p:nvSpPr>
        <p:spPr bwMode="auto">
          <a:xfrm>
            <a:off x="2864696" y="3215149"/>
            <a:ext cx="609685" cy="597919"/>
          </a:xfrm>
          <a:custGeom>
            <a:avLst/>
            <a:gdLst>
              <a:gd name="T0" fmla="*/ 8480 w 11552"/>
              <a:gd name="T1" fmla="*/ 5776 h 11328"/>
              <a:gd name="T2" fmla="*/ 7632 w 11552"/>
              <a:gd name="T3" fmla="*/ 0 h 11328"/>
              <a:gd name="T4" fmla="*/ 0 w 11552"/>
              <a:gd name="T5" fmla="*/ 848 h 11328"/>
              <a:gd name="T6" fmla="*/ 848 w 11552"/>
              <a:gd name="T7" fmla="*/ 11328 h 11328"/>
              <a:gd name="T8" fmla="*/ 6032 w 11552"/>
              <a:gd name="T9" fmla="*/ 6656 h 11328"/>
              <a:gd name="T10" fmla="*/ 2048 w 11552"/>
              <a:gd name="T11" fmla="*/ 1392 h 11328"/>
              <a:gd name="T12" fmla="*/ 7152 w 11552"/>
              <a:gd name="T13" fmla="*/ 2096 h 11328"/>
              <a:gd name="T14" fmla="*/ 2048 w 11552"/>
              <a:gd name="T15" fmla="*/ 2800 h 11328"/>
              <a:gd name="T16" fmla="*/ 2048 w 11552"/>
              <a:gd name="T17" fmla="*/ 1392 h 11328"/>
              <a:gd name="T18" fmla="*/ 2048 w 11552"/>
              <a:gd name="T19" fmla="*/ 3552 h 11328"/>
              <a:gd name="T20" fmla="*/ 7152 w 11552"/>
              <a:gd name="T21" fmla="*/ 4256 h 11328"/>
              <a:gd name="T22" fmla="*/ 2048 w 11552"/>
              <a:gd name="T23" fmla="*/ 4960 h 11328"/>
              <a:gd name="T24" fmla="*/ 4240 w 11552"/>
              <a:gd name="T25" fmla="*/ 8160 h 11328"/>
              <a:gd name="T26" fmla="*/ 4240 w 11552"/>
              <a:gd name="T27" fmla="*/ 6080 h 11328"/>
              <a:gd name="T28" fmla="*/ 4240 w 11552"/>
              <a:gd name="T29" fmla="*/ 8160 h 11328"/>
              <a:gd name="T30" fmla="*/ 6512 w 11552"/>
              <a:gd name="T31" fmla="*/ 9088 h 11328"/>
              <a:gd name="T32" fmla="*/ 7632 w 11552"/>
              <a:gd name="T33" fmla="*/ 10768 h 11328"/>
              <a:gd name="T34" fmla="*/ 7632 w 11552"/>
              <a:gd name="T35" fmla="*/ 8528 h 11328"/>
              <a:gd name="T36" fmla="*/ 9552 w 11552"/>
              <a:gd name="T37" fmla="*/ 8400 h 11328"/>
              <a:gd name="T38" fmla="*/ 9168 w 11552"/>
              <a:gd name="T39" fmla="*/ 7824 h 11328"/>
              <a:gd name="T40" fmla="*/ 8976 w 11552"/>
              <a:gd name="T41" fmla="*/ 8208 h 11328"/>
              <a:gd name="T42" fmla="*/ 8896 w 11552"/>
              <a:gd name="T43" fmla="*/ 9264 h 11328"/>
              <a:gd name="T44" fmla="*/ 9104 w 11552"/>
              <a:gd name="T45" fmla="*/ 9632 h 11328"/>
              <a:gd name="T46" fmla="*/ 9552 w 11552"/>
              <a:gd name="T47" fmla="*/ 8400 h 11328"/>
              <a:gd name="T48" fmla="*/ 10480 w 11552"/>
              <a:gd name="T49" fmla="*/ 8128 h 11328"/>
              <a:gd name="T50" fmla="*/ 9824 w 11552"/>
              <a:gd name="T51" fmla="*/ 7216 h 11328"/>
              <a:gd name="T52" fmla="*/ 9664 w 11552"/>
              <a:gd name="T53" fmla="*/ 7632 h 11328"/>
              <a:gd name="T54" fmla="*/ 9520 w 11552"/>
              <a:gd name="T55" fmla="*/ 9888 h 11328"/>
              <a:gd name="T56" fmla="*/ 9696 w 11552"/>
              <a:gd name="T57" fmla="*/ 10288 h 11328"/>
              <a:gd name="T58" fmla="*/ 10496 w 11552"/>
              <a:gd name="T59" fmla="*/ 9072 h 11328"/>
              <a:gd name="T60" fmla="*/ 10768 w 11552"/>
              <a:gd name="T61" fmla="*/ 6688 h 11328"/>
              <a:gd name="T62" fmla="*/ 10336 w 11552"/>
              <a:gd name="T63" fmla="*/ 6832 h 11328"/>
              <a:gd name="T64" fmla="*/ 10896 w 11552"/>
              <a:gd name="T65" fmla="*/ 9520 h 11328"/>
              <a:gd name="T66" fmla="*/ 10128 w 11552"/>
              <a:gd name="T67" fmla="*/ 10784 h 11328"/>
              <a:gd name="T68" fmla="*/ 10528 w 11552"/>
              <a:gd name="T69" fmla="*/ 10960 h 11328"/>
              <a:gd name="T70" fmla="*/ 11504 w 11552"/>
              <a:gd name="T71" fmla="*/ 8336 h 1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2" h="11328">
                <a:moveTo>
                  <a:pt x="6928" y="5776"/>
                </a:moveTo>
                <a:lnTo>
                  <a:pt x="8480" y="5776"/>
                </a:lnTo>
                <a:lnTo>
                  <a:pt x="8480" y="848"/>
                </a:lnTo>
                <a:cubicBezTo>
                  <a:pt x="8480" y="384"/>
                  <a:pt x="8096" y="0"/>
                  <a:pt x="7632" y="0"/>
                </a:cubicBezTo>
                <a:lnTo>
                  <a:pt x="864" y="0"/>
                </a:lnTo>
                <a:cubicBezTo>
                  <a:pt x="384" y="0"/>
                  <a:pt x="0" y="384"/>
                  <a:pt x="0" y="848"/>
                </a:cubicBezTo>
                <a:lnTo>
                  <a:pt x="0" y="10480"/>
                </a:lnTo>
                <a:cubicBezTo>
                  <a:pt x="0" y="10944"/>
                  <a:pt x="384" y="11328"/>
                  <a:pt x="848" y="11328"/>
                </a:cubicBezTo>
                <a:lnTo>
                  <a:pt x="6032" y="11328"/>
                </a:lnTo>
                <a:lnTo>
                  <a:pt x="6032" y="6656"/>
                </a:lnTo>
                <a:cubicBezTo>
                  <a:pt x="6048" y="6176"/>
                  <a:pt x="6448" y="5776"/>
                  <a:pt x="6928" y="5776"/>
                </a:cubicBezTo>
                <a:close/>
                <a:moveTo>
                  <a:pt x="2048" y="1392"/>
                </a:moveTo>
                <a:lnTo>
                  <a:pt x="6448" y="1392"/>
                </a:lnTo>
                <a:cubicBezTo>
                  <a:pt x="6832" y="1392"/>
                  <a:pt x="7152" y="1712"/>
                  <a:pt x="7152" y="2096"/>
                </a:cubicBezTo>
                <a:cubicBezTo>
                  <a:pt x="7152" y="2480"/>
                  <a:pt x="6832" y="2800"/>
                  <a:pt x="6448" y="2800"/>
                </a:cubicBezTo>
                <a:lnTo>
                  <a:pt x="2048" y="2800"/>
                </a:lnTo>
                <a:cubicBezTo>
                  <a:pt x="1664" y="2800"/>
                  <a:pt x="1344" y="2480"/>
                  <a:pt x="1344" y="2096"/>
                </a:cubicBezTo>
                <a:cubicBezTo>
                  <a:pt x="1344" y="1712"/>
                  <a:pt x="1664" y="1392"/>
                  <a:pt x="2048" y="1392"/>
                </a:cubicBezTo>
                <a:close/>
                <a:moveTo>
                  <a:pt x="1344" y="4256"/>
                </a:moveTo>
                <a:cubicBezTo>
                  <a:pt x="1344" y="3872"/>
                  <a:pt x="1664" y="3552"/>
                  <a:pt x="2048" y="3552"/>
                </a:cubicBezTo>
                <a:lnTo>
                  <a:pt x="6448" y="3552"/>
                </a:lnTo>
                <a:cubicBezTo>
                  <a:pt x="6832" y="3552"/>
                  <a:pt x="7152" y="3872"/>
                  <a:pt x="7152" y="4256"/>
                </a:cubicBezTo>
                <a:cubicBezTo>
                  <a:pt x="7152" y="4640"/>
                  <a:pt x="6832" y="4960"/>
                  <a:pt x="6448" y="4960"/>
                </a:cubicBezTo>
                <a:lnTo>
                  <a:pt x="2048" y="4960"/>
                </a:lnTo>
                <a:cubicBezTo>
                  <a:pt x="1664" y="4944"/>
                  <a:pt x="1344" y="4624"/>
                  <a:pt x="1344" y="4256"/>
                </a:cubicBezTo>
                <a:close/>
                <a:moveTo>
                  <a:pt x="4240" y="8160"/>
                </a:moveTo>
                <a:cubicBezTo>
                  <a:pt x="3664" y="8160"/>
                  <a:pt x="3200" y="7696"/>
                  <a:pt x="3200" y="7120"/>
                </a:cubicBezTo>
                <a:cubicBezTo>
                  <a:pt x="3200" y="6544"/>
                  <a:pt x="3664" y="6080"/>
                  <a:pt x="4240" y="6080"/>
                </a:cubicBezTo>
                <a:cubicBezTo>
                  <a:pt x="4816" y="6080"/>
                  <a:pt x="5280" y="6544"/>
                  <a:pt x="5280" y="7120"/>
                </a:cubicBezTo>
                <a:cubicBezTo>
                  <a:pt x="5296" y="7696"/>
                  <a:pt x="4832" y="8160"/>
                  <a:pt x="4240" y="8160"/>
                </a:cubicBezTo>
                <a:close/>
                <a:moveTo>
                  <a:pt x="7632" y="6848"/>
                </a:moveTo>
                <a:lnTo>
                  <a:pt x="6512" y="9088"/>
                </a:lnTo>
                <a:lnTo>
                  <a:pt x="7632" y="9088"/>
                </a:lnTo>
                <a:lnTo>
                  <a:pt x="7632" y="10768"/>
                </a:lnTo>
                <a:lnTo>
                  <a:pt x="8752" y="8528"/>
                </a:lnTo>
                <a:lnTo>
                  <a:pt x="7632" y="8528"/>
                </a:lnTo>
                <a:lnTo>
                  <a:pt x="7632" y="6848"/>
                </a:lnTo>
                <a:close/>
                <a:moveTo>
                  <a:pt x="9552" y="8400"/>
                </a:moveTo>
                <a:cubicBezTo>
                  <a:pt x="9504" y="8112"/>
                  <a:pt x="9376" y="7952"/>
                  <a:pt x="9360" y="7920"/>
                </a:cubicBezTo>
                <a:cubicBezTo>
                  <a:pt x="9312" y="7856"/>
                  <a:pt x="9248" y="7824"/>
                  <a:pt x="9168" y="7824"/>
                </a:cubicBezTo>
                <a:cubicBezTo>
                  <a:pt x="9040" y="7824"/>
                  <a:pt x="8928" y="7936"/>
                  <a:pt x="8928" y="8064"/>
                </a:cubicBezTo>
                <a:cubicBezTo>
                  <a:pt x="8928" y="8112"/>
                  <a:pt x="8944" y="8176"/>
                  <a:pt x="8976" y="8208"/>
                </a:cubicBezTo>
                <a:cubicBezTo>
                  <a:pt x="8976" y="8208"/>
                  <a:pt x="9040" y="8304"/>
                  <a:pt x="9072" y="8480"/>
                </a:cubicBezTo>
                <a:cubicBezTo>
                  <a:pt x="9120" y="8736"/>
                  <a:pt x="9056" y="8992"/>
                  <a:pt x="8896" y="9264"/>
                </a:cubicBezTo>
                <a:cubicBezTo>
                  <a:pt x="8880" y="9296"/>
                  <a:pt x="8864" y="9344"/>
                  <a:pt x="8864" y="9392"/>
                </a:cubicBezTo>
                <a:cubicBezTo>
                  <a:pt x="8864" y="9520"/>
                  <a:pt x="8976" y="9632"/>
                  <a:pt x="9104" y="9632"/>
                </a:cubicBezTo>
                <a:cubicBezTo>
                  <a:pt x="9200" y="9632"/>
                  <a:pt x="9264" y="9584"/>
                  <a:pt x="9312" y="9520"/>
                </a:cubicBezTo>
                <a:cubicBezTo>
                  <a:pt x="9584" y="9056"/>
                  <a:pt x="9584" y="8656"/>
                  <a:pt x="9552" y="8400"/>
                </a:cubicBezTo>
                <a:close/>
                <a:moveTo>
                  <a:pt x="10496" y="9072"/>
                </a:moveTo>
                <a:cubicBezTo>
                  <a:pt x="10576" y="8752"/>
                  <a:pt x="10560" y="8432"/>
                  <a:pt x="10480" y="8128"/>
                </a:cubicBezTo>
                <a:cubicBezTo>
                  <a:pt x="10336" y="7600"/>
                  <a:pt x="10000" y="7296"/>
                  <a:pt x="9984" y="7280"/>
                </a:cubicBezTo>
                <a:cubicBezTo>
                  <a:pt x="9936" y="7248"/>
                  <a:pt x="9888" y="7216"/>
                  <a:pt x="9824" y="7216"/>
                </a:cubicBezTo>
                <a:cubicBezTo>
                  <a:pt x="9696" y="7216"/>
                  <a:pt x="9584" y="7328"/>
                  <a:pt x="9584" y="7456"/>
                </a:cubicBezTo>
                <a:cubicBezTo>
                  <a:pt x="9584" y="7520"/>
                  <a:pt x="9616" y="7584"/>
                  <a:pt x="9664" y="7632"/>
                </a:cubicBezTo>
                <a:cubicBezTo>
                  <a:pt x="9664" y="7632"/>
                  <a:pt x="9920" y="7872"/>
                  <a:pt x="10032" y="8272"/>
                </a:cubicBezTo>
                <a:cubicBezTo>
                  <a:pt x="10176" y="8800"/>
                  <a:pt x="10000" y="9344"/>
                  <a:pt x="9520" y="9888"/>
                </a:cubicBezTo>
                <a:cubicBezTo>
                  <a:pt x="9488" y="9936"/>
                  <a:pt x="9456" y="9984"/>
                  <a:pt x="9456" y="10048"/>
                </a:cubicBezTo>
                <a:cubicBezTo>
                  <a:pt x="9456" y="10176"/>
                  <a:pt x="9568" y="10288"/>
                  <a:pt x="9696" y="10288"/>
                </a:cubicBezTo>
                <a:cubicBezTo>
                  <a:pt x="9776" y="10288"/>
                  <a:pt x="9840" y="10256"/>
                  <a:pt x="9888" y="10208"/>
                </a:cubicBezTo>
                <a:cubicBezTo>
                  <a:pt x="10192" y="9840"/>
                  <a:pt x="10400" y="9456"/>
                  <a:pt x="10496" y="9072"/>
                </a:cubicBezTo>
                <a:close/>
                <a:moveTo>
                  <a:pt x="11504" y="8336"/>
                </a:moveTo>
                <a:cubicBezTo>
                  <a:pt x="11424" y="7776"/>
                  <a:pt x="11184" y="7216"/>
                  <a:pt x="10768" y="6688"/>
                </a:cubicBezTo>
                <a:cubicBezTo>
                  <a:pt x="10720" y="6624"/>
                  <a:pt x="10656" y="6592"/>
                  <a:pt x="10576" y="6592"/>
                </a:cubicBezTo>
                <a:cubicBezTo>
                  <a:pt x="10448" y="6592"/>
                  <a:pt x="10336" y="6704"/>
                  <a:pt x="10336" y="6832"/>
                </a:cubicBezTo>
                <a:cubicBezTo>
                  <a:pt x="10336" y="6880"/>
                  <a:pt x="10352" y="6944"/>
                  <a:pt x="10384" y="6976"/>
                </a:cubicBezTo>
                <a:cubicBezTo>
                  <a:pt x="11040" y="7808"/>
                  <a:pt x="11200" y="8656"/>
                  <a:pt x="10896" y="9520"/>
                </a:cubicBezTo>
                <a:cubicBezTo>
                  <a:pt x="10656" y="10176"/>
                  <a:pt x="10208" y="10592"/>
                  <a:pt x="10208" y="10608"/>
                </a:cubicBezTo>
                <a:cubicBezTo>
                  <a:pt x="10160" y="10656"/>
                  <a:pt x="10128" y="10720"/>
                  <a:pt x="10128" y="10784"/>
                </a:cubicBezTo>
                <a:cubicBezTo>
                  <a:pt x="10128" y="10912"/>
                  <a:pt x="10240" y="11024"/>
                  <a:pt x="10368" y="11024"/>
                </a:cubicBezTo>
                <a:cubicBezTo>
                  <a:pt x="10432" y="11024"/>
                  <a:pt x="10496" y="10992"/>
                  <a:pt x="10528" y="10960"/>
                </a:cubicBezTo>
                <a:cubicBezTo>
                  <a:pt x="10544" y="10944"/>
                  <a:pt x="11056" y="10464"/>
                  <a:pt x="11344" y="9712"/>
                </a:cubicBezTo>
                <a:cubicBezTo>
                  <a:pt x="11504" y="9264"/>
                  <a:pt x="11552" y="8800"/>
                  <a:pt x="11504" y="8336"/>
                </a:cubicBezTo>
                <a:close/>
              </a:path>
            </a:pathLst>
          </a:custGeom>
          <a:solidFill>
            <a:schemeClr val="bg1"/>
          </a:solidFill>
          <a:ln>
            <a:noFill/>
          </a:ln>
        </p:spPr>
      </p:sp>
      <p:sp>
        <p:nvSpPr>
          <p:cNvPr id="20" name="iconfont-10043-4933350"/>
          <p:cNvSpPr>
            <a:spLocks noChangeAspect="1"/>
          </p:cNvSpPr>
          <p:nvPr/>
        </p:nvSpPr>
        <p:spPr bwMode="auto">
          <a:xfrm>
            <a:off x="4110087" y="4474469"/>
            <a:ext cx="609685" cy="609685"/>
          </a:xfrm>
          <a:custGeom>
            <a:avLst/>
            <a:gdLst>
              <a:gd name="T0" fmla="*/ 5400 w 10800"/>
              <a:gd name="T1" fmla="*/ 10800 h 10800"/>
              <a:gd name="T2" fmla="*/ 0 w 10800"/>
              <a:gd name="T3" fmla="*/ 5400 h 10800"/>
              <a:gd name="T4" fmla="*/ 5400 w 10800"/>
              <a:gd name="T5" fmla="*/ 0 h 10800"/>
              <a:gd name="T6" fmla="*/ 10800 w 10800"/>
              <a:gd name="T7" fmla="*/ 5400 h 10800"/>
              <a:gd name="T8" fmla="*/ 5400 w 10800"/>
              <a:gd name="T9" fmla="*/ 10800 h 10800"/>
              <a:gd name="T10" fmla="*/ 5400 w 10800"/>
              <a:gd name="T11" fmla="*/ 800 h 10800"/>
              <a:gd name="T12" fmla="*/ 800 w 10800"/>
              <a:gd name="T13" fmla="*/ 5400 h 10800"/>
              <a:gd name="T14" fmla="*/ 5400 w 10800"/>
              <a:gd name="T15" fmla="*/ 10000 h 10800"/>
              <a:gd name="T16" fmla="*/ 10000 w 10800"/>
              <a:gd name="T17" fmla="*/ 5400 h 10800"/>
              <a:gd name="T18" fmla="*/ 5400 w 10800"/>
              <a:gd name="T19" fmla="*/ 800 h 10800"/>
              <a:gd name="T20" fmla="*/ 7400 w 10800"/>
              <a:gd name="T21" fmla="*/ 5880 h 10800"/>
              <a:gd name="T22" fmla="*/ 5800 w 10800"/>
              <a:gd name="T23" fmla="*/ 5880 h 10800"/>
              <a:gd name="T24" fmla="*/ 5800 w 10800"/>
              <a:gd name="T25" fmla="*/ 5080 h 10800"/>
              <a:gd name="T26" fmla="*/ 7400 w 10800"/>
              <a:gd name="T27" fmla="*/ 5080 h 10800"/>
              <a:gd name="T28" fmla="*/ 7800 w 10800"/>
              <a:gd name="T29" fmla="*/ 4680 h 10800"/>
              <a:gd name="T30" fmla="*/ 7400 w 10800"/>
              <a:gd name="T31" fmla="*/ 4280 h 10800"/>
              <a:gd name="T32" fmla="*/ 6280 w 10800"/>
              <a:gd name="T33" fmla="*/ 4280 h 10800"/>
              <a:gd name="T34" fmla="*/ 7380 w 10800"/>
              <a:gd name="T35" fmla="*/ 3180 h 10800"/>
              <a:gd name="T36" fmla="*/ 7380 w 10800"/>
              <a:gd name="T37" fmla="*/ 2620 h 10800"/>
              <a:gd name="T38" fmla="*/ 6820 w 10800"/>
              <a:gd name="T39" fmla="*/ 2620 h 10800"/>
              <a:gd name="T40" fmla="*/ 5400 w 10800"/>
              <a:gd name="T41" fmla="*/ 4040 h 10800"/>
              <a:gd name="T42" fmla="*/ 3980 w 10800"/>
              <a:gd name="T43" fmla="*/ 2620 h 10800"/>
              <a:gd name="T44" fmla="*/ 3420 w 10800"/>
              <a:gd name="T45" fmla="*/ 2620 h 10800"/>
              <a:gd name="T46" fmla="*/ 3420 w 10800"/>
              <a:gd name="T47" fmla="*/ 3180 h 10800"/>
              <a:gd name="T48" fmla="*/ 4520 w 10800"/>
              <a:gd name="T49" fmla="*/ 4280 h 10800"/>
              <a:gd name="T50" fmla="*/ 3400 w 10800"/>
              <a:gd name="T51" fmla="*/ 4280 h 10800"/>
              <a:gd name="T52" fmla="*/ 3000 w 10800"/>
              <a:gd name="T53" fmla="*/ 4680 h 10800"/>
              <a:gd name="T54" fmla="*/ 3400 w 10800"/>
              <a:gd name="T55" fmla="*/ 5080 h 10800"/>
              <a:gd name="T56" fmla="*/ 5000 w 10800"/>
              <a:gd name="T57" fmla="*/ 5080 h 10800"/>
              <a:gd name="T58" fmla="*/ 5000 w 10800"/>
              <a:gd name="T59" fmla="*/ 5880 h 10800"/>
              <a:gd name="T60" fmla="*/ 3400 w 10800"/>
              <a:gd name="T61" fmla="*/ 5880 h 10800"/>
              <a:gd name="T62" fmla="*/ 3000 w 10800"/>
              <a:gd name="T63" fmla="*/ 6280 h 10800"/>
              <a:gd name="T64" fmla="*/ 3400 w 10800"/>
              <a:gd name="T65" fmla="*/ 6680 h 10800"/>
              <a:gd name="T66" fmla="*/ 5000 w 10800"/>
              <a:gd name="T67" fmla="*/ 6680 h 10800"/>
              <a:gd name="T68" fmla="*/ 5000 w 10800"/>
              <a:gd name="T69" fmla="*/ 8280 h 10800"/>
              <a:gd name="T70" fmla="*/ 5400 w 10800"/>
              <a:gd name="T71" fmla="*/ 8680 h 10800"/>
              <a:gd name="T72" fmla="*/ 5800 w 10800"/>
              <a:gd name="T73" fmla="*/ 8280 h 10800"/>
              <a:gd name="T74" fmla="*/ 5800 w 10800"/>
              <a:gd name="T75" fmla="*/ 6680 h 10800"/>
              <a:gd name="T76" fmla="*/ 7400 w 10800"/>
              <a:gd name="T77" fmla="*/ 6680 h 10800"/>
              <a:gd name="T78" fmla="*/ 7800 w 10800"/>
              <a:gd name="T79" fmla="*/ 6280 h 10800"/>
              <a:gd name="T80" fmla="*/ 7400 w 10800"/>
              <a:gd name="T81" fmla="*/ 5880 h 10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00" h="10800">
                <a:moveTo>
                  <a:pt x="5400" y="10800"/>
                </a:moveTo>
                <a:cubicBezTo>
                  <a:pt x="2420" y="10800"/>
                  <a:pt x="0" y="8380"/>
                  <a:pt x="0" y="5400"/>
                </a:cubicBezTo>
                <a:cubicBezTo>
                  <a:pt x="0" y="2420"/>
                  <a:pt x="2420" y="0"/>
                  <a:pt x="5400" y="0"/>
                </a:cubicBezTo>
                <a:cubicBezTo>
                  <a:pt x="8380" y="0"/>
                  <a:pt x="10800" y="2420"/>
                  <a:pt x="10800" y="5400"/>
                </a:cubicBezTo>
                <a:cubicBezTo>
                  <a:pt x="10800" y="8380"/>
                  <a:pt x="8380" y="10800"/>
                  <a:pt x="5400" y="10800"/>
                </a:cubicBezTo>
                <a:close/>
                <a:moveTo>
                  <a:pt x="5400" y="800"/>
                </a:moveTo>
                <a:cubicBezTo>
                  <a:pt x="2860" y="800"/>
                  <a:pt x="800" y="2860"/>
                  <a:pt x="800" y="5400"/>
                </a:cubicBezTo>
                <a:cubicBezTo>
                  <a:pt x="800" y="7940"/>
                  <a:pt x="2860" y="10000"/>
                  <a:pt x="5400" y="10000"/>
                </a:cubicBezTo>
                <a:cubicBezTo>
                  <a:pt x="7940" y="10000"/>
                  <a:pt x="10000" y="7940"/>
                  <a:pt x="10000" y="5400"/>
                </a:cubicBezTo>
                <a:cubicBezTo>
                  <a:pt x="10000" y="2860"/>
                  <a:pt x="7940" y="800"/>
                  <a:pt x="5400" y="800"/>
                </a:cubicBezTo>
                <a:close/>
                <a:moveTo>
                  <a:pt x="7400" y="5880"/>
                </a:moveTo>
                <a:lnTo>
                  <a:pt x="5800" y="5880"/>
                </a:lnTo>
                <a:lnTo>
                  <a:pt x="5800" y="5080"/>
                </a:lnTo>
                <a:lnTo>
                  <a:pt x="7400" y="5080"/>
                </a:lnTo>
                <a:cubicBezTo>
                  <a:pt x="7620" y="5080"/>
                  <a:pt x="7800" y="4900"/>
                  <a:pt x="7800" y="4680"/>
                </a:cubicBezTo>
                <a:cubicBezTo>
                  <a:pt x="7800" y="4460"/>
                  <a:pt x="7620" y="4280"/>
                  <a:pt x="7400" y="4280"/>
                </a:cubicBezTo>
                <a:lnTo>
                  <a:pt x="6280" y="4280"/>
                </a:lnTo>
                <a:lnTo>
                  <a:pt x="7380" y="3180"/>
                </a:lnTo>
                <a:cubicBezTo>
                  <a:pt x="7540" y="3020"/>
                  <a:pt x="7540" y="2780"/>
                  <a:pt x="7380" y="2620"/>
                </a:cubicBezTo>
                <a:cubicBezTo>
                  <a:pt x="7220" y="2460"/>
                  <a:pt x="6980" y="2460"/>
                  <a:pt x="6820" y="2620"/>
                </a:cubicBezTo>
                <a:lnTo>
                  <a:pt x="5400" y="4040"/>
                </a:lnTo>
                <a:lnTo>
                  <a:pt x="3980" y="2620"/>
                </a:lnTo>
                <a:cubicBezTo>
                  <a:pt x="3820" y="2460"/>
                  <a:pt x="3580" y="2460"/>
                  <a:pt x="3420" y="2620"/>
                </a:cubicBezTo>
                <a:cubicBezTo>
                  <a:pt x="3260" y="2780"/>
                  <a:pt x="3260" y="3020"/>
                  <a:pt x="3420" y="3180"/>
                </a:cubicBezTo>
                <a:lnTo>
                  <a:pt x="4520" y="4280"/>
                </a:lnTo>
                <a:lnTo>
                  <a:pt x="3400" y="4280"/>
                </a:lnTo>
                <a:cubicBezTo>
                  <a:pt x="3180" y="4280"/>
                  <a:pt x="3000" y="4460"/>
                  <a:pt x="3000" y="4680"/>
                </a:cubicBezTo>
                <a:cubicBezTo>
                  <a:pt x="3000" y="4900"/>
                  <a:pt x="3180" y="5080"/>
                  <a:pt x="3400" y="5080"/>
                </a:cubicBezTo>
                <a:lnTo>
                  <a:pt x="5000" y="5080"/>
                </a:lnTo>
                <a:lnTo>
                  <a:pt x="5000" y="5880"/>
                </a:lnTo>
                <a:lnTo>
                  <a:pt x="3400" y="5880"/>
                </a:lnTo>
                <a:cubicBezTo>
                  <a:pt x="3180" y="5880"/>
                  <a:pt x="3000" y="6060"/>
                  <a:pt x="3000" y="6280"/>
                </a:cubicBezTo>
                <a:cubicBezTo>
                  <a:pt x="3000" y="6500"/>
                  <a:pt x="3180" y="6680"/>
                  <a:pt x="3400" y="6680"/>
                </a:cubicBezTo>
                <a:lnTo>
                  <a:pt x="5000" y="6680"/>
                </a:lnTo>
                <a:lnTo>
                  <a:pt x="5000" y="8280"/>
                </a:lnTo>
                <a:cubicBezTo>
                  <a:pt x="5000" y="8500"/>
                  <a:pt x="5180" y="8680"/>
                  <a:pt x="5400" y="8680"/>
                </a:cubicBezTo>
                <a:cubicBezTo>
                  <a:pt x="5620" y="8680"/>
                  <a:pt x="5800" y="8500"/>
                  <a:pt x="5800" y="8280"/>
                </a:cubicBezTo>
                <a:lnTo>
                  <a:pt x="5800" y="6680"/>
                </a:lnTo>
                <a:lnTo>
                  <a:pt x="7400" y="6680"/>
                </a:lnTo>
                <a:cubicBezTo>
                  <a:pt x="7620" y="6680"/>
                  <a:pt x="7800" y="6500"/>
                  <a:pt x="7800" y="6280"/>
                </a:cubicBezTo>
                <a:cubicBezTo>
                  <a:pt x="7800" y="6060"/>
                  <a:pt x="7620" y="5880"/>
                  <a:pt x="7400" y="5880"/>
                </a:cubicBezTo>
                <a:close/>
              </a:path>
            </a:pathLst>
          </a:custGeom>
          <a:solidFill>
            <a:schemeClr val="bg1"/>
          </a:solidFill>
          <a:ln>
            <a:noFill/>
          </a:ln>
        </p:spPr>
      </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5416605" y="1786029"/>
            <a:ext cx="2215334" cy="1304203"/>
          </a:xfrm>
          <a:prstGeom prst="rect">
            <a:avLst/>
          </a:prstGeom>
        </p:spPr>
        <p:txBody>
          <a:bodyPr wrap="square">
            <a:spAutoFit/>
          </a:bodyPr>
          <a:lstStyle/>
          <a:p>
            <a:pPr fontAlgn="ctr">
              <a:lnSpc>
                <a:spcPct val="150000"/>
              </a:lnSpc>
            </a:pPr>
            <a:r>
              <a:rPr lang="zh-CN" altLang="en-US" sz="1050" dirty="0">
                <a:solidFill>
                  <a:schemeClr val="tx1">
                    <a:lumMod val="65000"/>
                    <a:lumOff val="35000"/>
                  </a:schemeClr>
                </a:solidFill>
                <a:cs typeface="+mn-ea"/>
                <a:sym typeface="+mn-lt"/>
              </a:rPr>
              <a:t>点击输入文字点击输入文字点击此处更换文本点击输入文字点击点击输入文字点击输入文字点击此处更换文本</a:t>
            </a:r>
            <a:endParaRPr lang="en-US" altLang="zh-CN" sz="1050" dirty="0">
              <a:solidFill>
                <a:schemeClr val="tx1">
                  <a:lumMod val="65000"/>
                  <a:lumOff val="35000"/>
                </a:schemeClr>
              </a:solidFill>
              <a:cs typeface="+mn-ea"/>
              <a:sym typeface="+mn-lt"/>
            </a:endParaRPr>
          </a:p>
          <a:p>
            <a:pPr fontAlgn="ctr">
              <a:lnSpc>
                <a:spcPct val="150000"/>
              </a:lnSpc>
            </a:pPr>
            <a:endParaRPr lang="en-US" altLang="zh-CN" sz="1050" dirty="0">
              <a:solidFill>
                <a:schemeClr val="tx1">
                  <a:lumMod val="65000"/>
                  <a:lumOff val="35000"/>
                </a:schemeClr>
              </a:solidFill>
              <a:cs typeface="+mn-ea"/>
              <a:sym typeface="+mn-lt"/>
            </a:endParaRPr>
          </a:p>
        </p:txBody>
      </p:sp>
      <p:sp>
        <p:nvSpPr>
          <p:cNvPr id="9" name="任意多边形: 形状 10"/>
          <p:cNvSpPr/>
          <p:nvPr/>
        </p:nvSpPr>
        <p:spPr>
          <a:xfrm>
            <a:off x="6585499" y="2891712"/>
            <a:ext cx="354501" cy="325962"/>
          </a:xfrm>
          <a:custGeom>
            <a:avLst/>
            <a:gdLst>
              <a:gd name="connsiteX0" fmla="*/ 190208 w 354501"/>
              <a:gd name="connsiteY0" fmla="*/ 0 h 325962"/>
              <a:gd name="connsiteX1" fmla="*/ 185831 w 354501"/>
              <a:gd name="connsiteY1" fmla="*/ 286410 h 325962"/>
              <a:gd name="connsiteX2" fmla="*/ 325799 w 354501"/>
              <a:gd name="connsiteY2" fmla="*/ 146441 h 325962"/>
              <a:gd name="connsiteX3" fmla="*/ 340370 w 354501"/>
              <a:gd name="connsiteY3" fmla="*/ 131871 h 325962"/>
              <a:gd name="connsiteX4" fmla="*/ 354501 w 354501"/>
              <a:gd name="connsiteY4" fmla="*/ 146002 h 325962"/>
              <a:gd name="connsiteX5" fmla="*/ 174542 w 354501"/>
              <a:gd name="connsiteY5" fmla="*/ 325962 h 325962"/>
              <a:gd name="connsiteX6" fmla="*/ 0 w 354501"/>
              <a:gd name="connsiteY6" fmla="*/ 151420 h 325962"/>
              <a:gd name="connsiteX7" fmla="*/ 14570 w 354501"/>
              <a:gd name="connsiteY7" fmla="*/ 136850 h 325962"/>
              <a:gd name="connsiteX8" fmla="*/ 28702 w 354501"/>
              <a:gd name="connsiteY8" fmla="*/ 150982 h 325962"/>
              <a:gd name="connsiteX9" fmla="*/ 165358 w 354501"/>
              <a:gd name="connsiteY9" fmla="*/ 287638 h 325962"/>
              <a:gd name="connsiteX10" fmla="*/ 169750 w 354501"/>
              <a:gd name="connsiteY10" fmla="*/ 312 h 325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4501" h="325962">
                <a:moveTo>
                  <a:pt x="190208" y="0"/>
                </a:moveTo>
                <a:lnTo>
                  <a:pt x="185831" y="286410"/>
                </a:lnTo>
                <a:lnTo>
                  <a:pt x="325799" y="146441"/>
                </a:lnTo>
                <a:lnTo>
                  <a:pt x="340370" y="131871"/>
                </a:lnTo>
                <a:lnTo>
                  <a:pt x="354501" y="146002"/>
                </a:lnTo>
                <a:lnTo>
                  <a:pt x="174542" y="325962"/>
                </a:lnTo>
                <a:lnTo>
                  <a:pt x="0" y="151420"/>
                </a:lnTo>
                <a:lnTo>
                  <a:pt x="14570" y="136850"/>
                </a:lnTo>
                <a:lnTo>
                  <a:pt x="28702" y="150982"/>
                </a:lnTo>
                <a:lnTo>
                  <a:pt x="165358" y="287638"/>
                </a:lnTo>
                <a:lnTo>
                  <a:pt x="169750" y="312"/>
                </a:lnTo>
                <a:close/>
              </a:path>
            </a:pathLst>
          </a:custGeom>
          <a:solidFill>
            <a:schemeClr val="bg1"/>
          </a:solidFill>
          <a:ln>
            <a:noFill/>
          </a:ln>
        </p:spPr>
        <p:txBody>
          <a:bodyPr vert="horz" wrap="square" lIns="91440" tIns="45720" rIns="91440" bIns="45720" numCol="1" anchor="t" anchorCtr="0" compatLnSpc="1"/>
          <a:lstStyle/>
          <a:p>
            <a:endParaRPr lang="zh-CN" altLang="en-US" sz="1350">
              <a:solidFill>
                <a:schemeClr val="tx1"/>
              </a:solidFill>
              <a:cs typeface="+mn-ea"/>
              <a:sym typeface="+mn-lt"/>
            </a:endParaRPr>
          </a:p>
        </p:txBody>
      </p:sp>
      <p:sp>
        <p:nvSpPr>
          <p:cNvPr id="11" name="任意多边形: 形状 12"/>
          <p:cNvSpPr/>
          <p:nvPr/>
        </p:nvSpPr>
        <p:spPr>
          <a:xfrm rot="10800000">
            <a:off x="3681225" y="3927083"/>
            <a:ext cx="354501" cy="325962"/>
          </a:xfrm>
          <a:custGeom>
            <a:avLst/>
            <a:gdLst>
              <a:gd name="connsiteX0" fmla="*/ 190208 w 354501"/>
              <a:gd name="connsiteY0" fmla="*/ 0 h 325962"/>
              <a:gd name="connsiteX1" fmla="*/ 185831 w 354501"/>
              <a:gd name="connsiteY1" fmla="*/ 286410 h 325962"/>
              <a:gd name="connsiteX2" fmla="*/ 325799 w 354501"/>
              <a:gd name="connsiteY2" fmla="*/ 146441 h 325962"/>
              <a:gd name="connsiteX3" fmla="*/ 340370 w 354501"/>
              <a:gd name="connsiteY3" fmla="*/ 131871 h 325962"/>
              <a:gd name="connsiteX4" fmla="*/ 354501 w 354501"/>
              <a:gd name="connsiteY4" fmla="*/ 146002 h 325962"/>
              <a:gd name="connsiteX5" fmla="*/ 174542 w 354501"/>
              <a:gd name="connsiteY5" fmla="*/ 325962 h 325962"/>
              <a:gd name="connsiteX6" fmla="*/ 0 w 354501"/>
              <a:gd name="connsiteY6" fmla="*/ 151420 h 325962"/>
              <a:gd name="connsiteX7" fmla="*/ 14570 w 354501"/>
              <a:gd name="connsiteY7" fmla="*/ 136850 h 325962"/>
              <a:gd name="connsiteX8" fmla="*/ 28702 w 354501"/>
              <a:gd name="connsiteY8" fmla="*/ 150982 h 325962"/>
              <a:gd name="connsiteX9" fmla="*/ 165358 w 354501"/>
              <a:gd name="connsiteY9" fmla="*/ 287638 h 325962"/>
              <a:gd name="connsiteX10" fmla="*/ 169750 w 354501"/>
              <a:gd name="connsiteY10" fmla="*/ 312 h 325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4501" h="325962">
                <a:moveTo>
                  <a:pt x="190208" y="0"/>
                </a:moveTo>
                <a:lnTo>
                  <a:pt x="185831" y="286410"/>
                </a:lnTo>
                <a:lnTo>
                  <a:pt x="325799" y="146441"/>
                </a:lnTo>
                <a:lnTo>
                  <a:pt x="340370" y="131871"/>
                </a:lnTo>
                <a:lnTo>
                  <a:pt x="354501" y="146002"/>
                </a:lnTo>
                <a:lnTo>
                  <a:pt x="174542" y="325962"/>
                </a:lnTo>
                <a:lnTo>
                  <a:pt x="0" y="151420"/>
                </a:lnTo>
                <a:lnTo>
                  <a:pt x="14570" y="136850"/>
                </a:lnTo>
                <a:lnTo>
                  <a:pt x="28702" y="150982"/>
                </a:lnTo>
                <a:lnTo>
                  <a:pt x="165358" y="287638"/>
                </a:lnTo>
                <a:lnTo>
                  <a:pt x="169750" y="312"/>
                </a:lnTo>
                <a:close/>
              </a:path>
            </a:pathLst>
          </a:custGeom>
          <a:solidFill>
            <a:schemeClr val="tx1"/>
          </a:solidFill>
          <a:ln>
            <a:noFill/>
          </a:ln>
        </p:spPr>
        <p:txBody>
          <a:bodyPr vert="horz" wrap="square" lIns="91440" tIns="45720" rIns="91440" bIns="45720" numCol="1" anchor="t" anchorCtr="0" compatLnSpc="1"/>
          <a:lstStyle/>
          <a:p>
            <a:endParaRPr lang="zh-CN" altLang="en-US" sz="1350">
              <a:solidFill>
                <a:schemeClr val="tx1"/>
              </a:solidFill>
              <a:cs typeface="+mn-ea"/>
              <a:sym typeface="+mn-lt"/>
            </a:endParaRPr>
          </a:p>
        </p:txBody>
      </p:sp>
      <p:grpSp>
        <p:nvGrpSpPr>
          <p:cNvPr id="27" name="组合 26"/>
          <p:cNvGrpSpPr/>
          <p:nvPr/>
        </p:nvGrpSpPr>
        <p:grpSpPr>
          <a:xfrm>
            <a:off x="506730" y="1281430"/>
            <a:ext cx="11230610" cy="4893310"/>
            <a:chOff x="3623" y="2405"/>
            <a:chExt cx="13387" cy="6334"/>
          </a:xfrm>
        </p:grpSpPr>
        <p:sp>
          <p:nvSpPr>
            <p:cNvPr id="3" name="矩形 2"/>
            <p:cNvSpPr/>
            <p:nvPr/>
          </p:nvSpPr>
          <p:spPr>
            <a:xfrm>
              <a:off x="3623" y="2405"/>
              <a:ext cx="4240" cy="2995"/>
            </a:xfrm>
            <a:prstGeom prst="rect">
              <a:avLst/>
            </a:prstGeom>
            <a:solidFill>
              <a:srgbClr val="FDEFDC"/>
            </a:solidFill>
            <a:ln w="19050">
              <a:noFill/>
              <a:round/>
            </a:ln>
          </p:spPr>
          <p:txBody>
            <a:bodyPr rot="0" spcFirstLastPara="0" vert="vert270" wrap="none" lIns="91440" tIns="45720" rIns="91440" bIns="45720" anchor="ctr" anchorCtr="1" forceAA="0" compatLnSpc="1">
              <a:normAutofit/>
              <a:scene3d>
                <a:camera prst="orthographicFront"/>
                <a:lightRig rig="threePt" dir="t"/>
              </a:scene3d>
              <a:sp3d contourW="12700"/>
            </a:bodyPr>
            <a:lstStyle/>
            <a:p>
              <a:pPr algn="ctr"/>
              <a:endParaRPr lang="zh-CN" altLang="en-US" sz="2800">
                <a:solidFill>
                  <a:schemeClr val="bg1">
                    <a:lumMod val="100000"/>
                  </a:schemeClr>
                </a:solidFill>
                <a:cs typeface="+mn-ea"/>
                <a:sym typeface="+mn-lt"/>
              </a:endParaRPr>
            </a:p>
          </p:txBody>
        </p:sp>
        <p:sp>
          <p:nvSpPr>
            <p:cNvPr id="4" name="矩形 3"/>
            <p:cNvSpPr/>
            <p:nvPr/>
          </p:nvSpPr>
          <p:spPr>
            <a:xfrm>
              <a:off x="3623" y="5745"/>
              <a:ext cx="4240" cy="2995"/>
            </a:xfrm>
            <a:prstGeom prst="rect">
              <a:avLst/>
            </a:prstGeom>
            <a:solidFill>
              <a:srgbClr val="FFD4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7" name="矩形 6"/>
            <p:cNvSpPr/>
            <p:nvPr/>
          </p:nvSpPr>
          <p:spPr>
            <a:xfrm>
              <a:off x="12770" y="5745"/>
              <a:ext cx="4240" cy="2995"/>
            </a:xfrm>
            <a:prstGeom prst="rect">
              <a:avLst/>
            </a:prstGeom>
            <a:solidFill>
              <a:schemeClr val="accent1"/>
            </a:solidFill>
            <a:ln w="19050">
              <a:noFill/>
              <a:round/>
            </a:ln>
          </p:spPr>
          <p:txBody>
            <a:bodyPr rot="0" spcFirstLastPara="0" vert="vert270" wrap="none" lIns="91440" tIns="45720" rIns="91440" bIns="45720" anchor="ctr" anchorCtr="1" forceAA="0" compatLnSpc="1">
              <a:normAutofit/>
              <a:scene3d>
                <a:camera prst="orthographicFront"/>
                <a:lightRig rig="threePt" dir="t"/>
              </a:scene3d>
              <a:sp3d contourW="12700"/>
            </a:bodyPr>
            <a:lstStyle/>
            <a:p>
              <a:pPr algn="ctr"/>
              <a:endParaRPr lang="zh-CN" altLang="en-US" sz="2800">
                <a:solidFill>
                  <a:schemeClr val="bg1">
                    <a:lumMod val="100000"/>
                  </a:schemeClr>
                </a:solidFill>
                <a:cs typeface="+mn-ea"/>
                <a:sym typeface="+mn-lt"/>
              </a:endParaRPr>
            </a:p>
          </p:txBody>
        </p:sp>
        <p:sp>
          <p:nvSpPr>
            <p:cNvPr id="20" name="矩形 19"/>
            <p:cNvSpPr/>
            <p:nvPr/>
          </p:nvSpPr>
          <p:spPr>
            <a:xfrm>
              <a:off x="8196" y="2405"/>
              <a:ext cx="4240" cy="2995"/>
            </a:xfrm>
            <a:prstGeom prst="rect">
              <a:avLst/>
            </a:prstGeom>
            <a:solidFill>
              <a:schemeClr val="accent1"/>
            </a:solidFill>
            <a:ln w="19050">
              <a:noFill/>
              <a:round/>
            </a:ln>
          </p:spPr>
          <p:txBody>
            <a:bodyPr rot="0" spcFirstLastPara="0" vert="vert270" wrap="none" lIns="91440" tIns="45720" rIns="91440" bIns="45720" anchor="ctr" anchorCtr="1" forceAA="0" compatLnSpc="1">
              <a:normAutofit/>
              <a:scene3d>
                <a:camera prst="orthographicFront"/>
                <a:lightRig rig="threePt" dir="t"/>
              </a:scene3d>
              <a:sp3d contourW="12700"/>
            </a:bodyPr>
            <a:p>
              <a:pPr algn="ctr"/>
              <a:endParaRPr lang="zh-CN" altLang="en-US" sz="2800">
                <a:solidFill>
                  <a:schemeClr val="bg1">
                    <a:lumMod val="100000"/>
                  </a:schemeClr>
                </a:solidFill>
                <a:cs typeface="+mn-ea"/>
                <a:sym typeface="+mn-lt"/>
              </a:endParaRPr>
            </a:p>
          </p:txBody>
        </p:sp>
        <p:sp>
          <p:nvSpPr>
            <p:cNvPr id="21" name="矩形 20"/>
            <p:cNvSpPr/>
            <p:nvPr/>
          </p:nvSpPr>
          <p:spPr>
            <a:xfrm>
              <a:off x="12770" y="2405"/>
              <a:ext cx="4240" cy="2995"/>
            </a:xfrm>
            <a:prstGeom prst="rect">
              <a:avLst/>
            </a:prstGeom>
            <a:solidFill>
              <a:srgbClr val="FDEFDC"/>
            </a:solidFill>
            <a:ln w="19050">
              <a:noFill/>
              <a:round/>
            </a:ln>
          </p:spPr>
          <p:txBody>
            <a:bodyPr rot="0" spcFirstLastPara="0" vert="vert270" wrap="none" lIns="91440" tIns="45720" rIns="91440" bIns="45720" anchor="ctr" anchorCtr="1" forceAA="0" compatLnSpc="1">
              <a:normAutofit/>
              <a:scene3d>
                <a:camera prst="orthographicFront"/>
                <a:lightRig rig="threePt" dir="t"/>
              </a:scene3d>
              <a:sp3d contourW="12700"/>
            </a:bodyPr>
            <a:p>
              <a:pPr algn="ctr"/>
              <a:endParaRPr lang="zh-CN" altLang="en-US" sz="2800">
                <a:solidFill>
                  <a:schemeClr val="bg1">
                    <a:lumMod val="100000"/>
                  </a:schemeClr>
                </a:solidFill>
                <a:cs typeface="+mn-ea"/>
                <a:sym typeface="+mn-lt"/>
              </a:endParaRPr>
            </a:p>
          </p:txBody>
        </p:sp>
        <p:sp>
          <p:nvSpPr>
            <p:cNvPr id="22" name="矩形 21"/>
            <p:cNvSpPr/>
            <p:nvPr/>
          </p:nvSpPr>
          <p:spPr>
            <a:xfrm>
              <a:off x="8196" y="5745"/>
              <a:ext cx="4240" cy="2995"/>
            </a:xfrm>
            <a:prstGeom prst="rect">
              <a:avLst/>
            </a:prstGeom>
            <a:solidFill>
              <a:srgbClr val="FDEFDC"/>
            </a:solidFill>
            <a:ln w="19050">
              <a:noFill/>
              <a:round/>
            </a:ln>
          </p:spPr>
          <p:txBody>
            <a:bodyPr rot="0" spcFirstLastPara="0" vert="vert270" wrap="none" lIns="91440" tIns="45720" rIns="91440" bIns="45720" anchor="ctr" anchorCtr="1" forceAA="0" compatLnSpc="1">
              <a:normAutofit/>
              <a:scene3d>
                <a:camera prst="orthographicFront"/>
                <a:lightRig rig="threePt" dir="t"/>
              </a:scene3d>
              <a:sp3d contourW="12700"/>
            </a:bodyPr>
            <a:p>
              <a:pPr algn="ctr"/>
              <a:endParaRPr lang="zh-CN" altLang="en-US" sz="2800">
                <a:solidFill>
                  <a:schemeClr val="bg1">
                    <a:lumMod val="100000"/>
                  </a:schemeClr>
                </a:solidFill>
                <a:cs typeface="+mn-ea"/>
                <a:sym typeface="+mn-lt"/>
              </a:endParaRPr>
            </a:p>
          </p:txBody>
        </p:sp>
      </p:grpSp>
      <p:sp>
        <p:nvSpPr>
          <p:cNvPr id="12" name="矩形 11"/>
          <p:cNvSpPr/>
          <p:nvPr/>
        </p:nvSpPr>
        <p:spPr>
          <a:xfrm>
            <a:off x="8587740" y="4182745"/>
            <a:ext cx="2741295" cy="1529715"/>
          </a:xfrm>
          <a:prstGeom prst="rect">
            <a:avLst/>
          </a:prstGeom>
        </p:spPr>
        <p:txBody>
          <a:bodyPr wrap="square">
            <a:spAutoFit/>
          </a:bodyPr>
          <a:lstStyle/>
          <a:p>
            <a:pPr fontAlgn="ctr">
              <a:lnSpc>
                <a:spcPct val="130000"/>
              </a:lnSpc>
            </a:pPr>
            <a:r>
              <a:rPr lang="zh-CN" altLang="en-US" dirty="0">
                <a:solidFill>
                  <a:schemeClr val="tx1"/>
                </a:solidFill>
                <a:latin typeface="站酷快乐体" panose="02010600030101010101" charset="-128"/>
                <a:ea typeface="站酷快乐体" panose="02010600030101010101" charset="-128"/>
                <a:cs typeface="站酷快乐体" panose="02010600030101010101" charset="-128"/>
                <a:sym typeface="+mn-lt"/>
              </a:rPr>
              <a:t>UI素材全部来自于非商业的开源素材，游戏介绍、关卡设置我们都是自己设计的，并未涉及抄袭。</a:t>
            </a:r>
            <a:endParaRPr lang="zh-CN" altLang="en-US" dirty="0">
              <a:solidFill>
                <a:schemeClr val="tx1"/>
              </a:solidFill>
              <a:latin typeface="站酷快乐体" panose="02010600030101010101" charset="-128"/>
              <a:ea typeface="站酷快乐体" panose="02010600030101010101" charset="-128"/>
              <a:cs typeface="站酷快乐体" panose="02010600030101010101" charset="-128"/>
              <a:sym typeface="+mn-lt"/>
            </a:endParaRPr>
          </a:p>
        </p:txBody>
      </p:sp>
      <p:sp>
        <p:nvSpPr>
          <p:cNvPr id="37" name="矩形 36"/>
          <p:cNvSpPr/>
          <p:nvPr/>
        </p:nvSpPr>
        <p:spPr>
          <a:xfrm>
            <a:off x="1217930" y="181610"/>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表结构设计</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19" name="矩形 18"/>
          <p:cNvSpPr/>
          <p:nvPr/>
        </p:nvSpPr>
        <p:spPr>
          <a:xfrm>
            <a:off x="1217930" y="181610"/>
            <a:ext cx="10300335"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将Super Bunny Man做成手游，是否涉及抄袭</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23" name="文本框 22"/>
          <p:cNvSpPr txBox="1"/>
          <p:nvPr/>
        </p:nvSpPr>
        <p:spPr>
          <a:xfrm>
            <a:off x="824230" y="1562735"/>
            <a:ext cx="2919730" cy="1614170"/>
          </a:xfrm>
          <a:prstGeom prst="rect">
            <a:avLst/>
          </a:prstGeom>
          <a:noFill/>
        </p:spPr>
        <p:txBody>
          <a:bodyPr wrap="square" rtlCol="0">
            <a:spAutoFit/>
          </a:bodyPr>
          <a:p>
            <a:pPr>
              <a:lnSpc>
                <a:spcPct val="110000"/>
              </a:lnSpc>
            </a:pPr>
            <a:r>
              <a:rPr lang="zh-CN" altLang="en-US">
                <a:latin typeface="站酷快乐体" panose="02010600030101010101" charset="-128"/>
                <a:ea typeface="站酷快乐体" panose="02010600030101010101" charset="-128"/>
              </a:rPr>
              <a:t>第一是纯粹代码抄袭，主要可能为游戏中某种特定效果（比如游戏引擎之类的），或者游戏运营的形式等纯粹技术上的抄袭。</a:t>
            </a:r>
            <a:endParaRPr lang="zh-CN" altLang="en-US">
              <a:latin typeface="站酷快乐体" panose="02010600030101010101" charset="-128"/>
              <a:ea typeface="站酷快乐体" panose="02010600030101010101" charset="-128"/>
            </a:endParaRPr>
          </a:p>
        </p:txBody>
      </p:sp>
      <p:sp>
        <p:nvSpPr>
          <p:cNvPr id="24" name="文本框 23"/>
          <p:cNvSpPr txBox="1"/>
          <p:nvPr/>
        </p:nvSpPr>
        <p:spPr>
          <a:xfrm>
            <a:off x="4667250" y="1715135"/>
            <a:ext cx="2857500" cy="1309370"/>
          </a:xfrm>
          <a:prstGeom prst="rect">
            <a:avLst/>
          </a:prstGeom>
          <a:noFill/>
        </p:spPr>
        <p:txBody>
          <a:bodyPr wrap="square" rtlCol="0">
            <a:spAutoFit/>
          </a:bodyPr>
          <a:p>
            <a:pPr>
              <a:lnSpc>
                <a:spcPct val="110000"/>
              </a:lnSpc>
            </a:pPr>
            <a:r>
              <a:rPr lang="zh-CN" altLang="en-US">
                <a:latin typeface="站酷快乐体" panose="02010600030101010101" charset="-128"/>
                <a:ea typeface="站酷快乐体" panose="02010600030101010101" charset="-128"/>
              </a:rPr>
              <a:t>第二是游戏玩法抄袭，此类大多数是我们普通玩家口中所说的抄袭如DOTA和LOL，LOL和王者荣耀等</a:t>
            </a:r>
            <a:r>
              <a:rPr lang="en-US" altLang="zh-CN">
                <a:latin typeface="站酷快乐体" panose="02010600030101010101" charset="-128"/>
                <a:ea typeface="站酷快乐体" panose="02010600030101010101" charset="-128"/>
              </a:rPr>
              <a:t>.</a:t>
            </a:r>
            <a:endParaRPr lang="en-US" altLang="zh-CN">
              <a:latin typeface="站酷快乐体" panose="02010600030101010101" charset="-128"/>
              <a:ea typeface="站酷快乐体" panose="02010600030101010101" charset="-128"/>
            </a:endParaRPr>
          </a:p>
        </p:txBody>
      </p:sp>
      <p:sp>
        <p:nvSpPr>
          <p:cNvPr id="25" name="文本框 24"/>
          <p:cNvSpPr txBox="1"/>
          <p:nvPr/>
        </p:nvSpPr>
        <p:spPr>
          <a:xfrm>
            <a:off x="4666615" y="4182745"/>
            <a:ext cx="2965450" cy="1614170"/>
          </a:xfrm>
          <a:prstGeom prst="rect">
            <a:avLst/>
          </a:prstGeom>
          <a:noFill/>
        </p:spPr>
        <p:txBody>
          <a:bodyPr wrap="square" rtlCol="0">
            <a:spAutoFit/>
          </a:bodyPr>
          <a:p>
            <a:pPr>
              <a:lnSpc>
                <a:spcPct val="110000"/>
              </a:lnSpc>
            </a:pPr>
            <a:r>
              <a:rPr lang="zh-CN" altLang="en-US">
                <a:latin typeface="站酷快乐体" panose="02010600030101010101" charset="-128"/>
                <a:ea typeface="站酷快乐体" panose="02010600030101010101" charset="-128"/>
              </a:rPr>
              <a:t>但著作权法不保护思想，只保护表达，纯粹的游戏玩法并不受到保护（全世界均如此），故该类所谓“抄袭”在法律层面上并不构成抄袭。</a:t>
            </a:r>
            <a:endParaRPr lang="zh-CN" altLang="en-US">
              <a:latin typeface="站酷快乐体" panose="02010600030101010101" charset="-128"/>
              <a:ea typeface="站酷快乐体" panose="02010600030101010101" charset="-128"/>
            </a:endParaRPr>
          </a:p>
        </p:txBody>
      </p:sp>
      <p:sp>
        <p:nvSpPr>
          <p:cNvPr id="26" name="文本框 25"/>
          <p:cNvSpPr txBox="1"/>
          <p:nvPr/>
        </p:nvSpPr>
        <p:spPr>
          <a:xfrm>
            <a:off x="8587740" y="1423670"/>
            <a:ext cx="2741295" cy="2030095"/>
          </a:xfrm>
          <a:prstGeom prst="rect">
            <a:avLst/>
          </a:prstGeom>
          <a:noFill/>
        </p:spPr>
        <p:txBody>
          <a:bodyPr wrap="square" rtlCol="0">
            <a:spAutoFit/>
          </a:bodyPr>
          <a:p>
            <a:r>
              <a:rPr lang="zh-CN" altLang="en-US">
                <a:latin typeface="站酷快乐体" panose="02010600030101010101" charset="-128"/>
                <a:ea typeface="站酷快乐体" panose="02010600030101010101" charset="-128"/>
              </a:rPr>
              <a:t>第三是游戏内容抄袭，此类分类较广，根据不同要素可能构成不同侵权。例如游戏画面、人物形象、背景故事、装备名称介绍、图标、人物动画效果等具体内容的抄袭。</a:t>
            </a:r>
            <a:endParaRPr lang="zh-CN" altLang="en-US">
              <a:latin typeface="站酷快乐体" panose="02010600030101010101" charset="-128"/>
              <a:ea typeface="站酷快乐体" panose="02010600030101010101" charset="-128"/>
            </a:endParaRPr>
          </a:p>
        </p:txBody>
      </p:sp>
      <p:sp>
        <p:nvSpPr>
          <p:cNvPr id="10" name="矩形 9"/>
          <p:cNvSpPr/>
          <p:nvPr/>
        </p:nvSpPr>
        <p:spPr>
          <a:xfrm>
            <a:off x="823595" y="3973195"/>
            <a:ext cx="2921000" cy="2223135"/>
          </a:xfrm>
          <a:prstGeom prst="rect">
            <a:avLst/>
          </a:prstGeom>
        </p:spPr>
        <p:txBody>
          <a:bodyPr wrap="square">
            <a:spAutoFit/>
          </a:bodyPr>
          <a:lstStyle/>
          <a:p>
            <a:pPr fontAlgn="ctr">
              <a:lnSpc>
                <a:spcPct val="110000"/>
              </a:lnSpc>
            </a:pPr>
            <a:r>
              <a:rPr lang="zh-CN" altLang="en-US" dirty="0">
                <a:solidFill>
                  <a:schemeClr val="tx1"/>
                </a:solidFill>
                <a:latin typeface="站酷快乐体" panose="02010600030101010101" charset="-128"/>
                <a:ea typeface="站酷快乐体" panose="02010600030101010101" charset="-128"/>
                <a:cs typeface="+mn-ea"/>
                <a:sym typeface="+mn-lt"/>
              </a:rPr>
              <a:t>首先，这一块我们是使用的自己的素材，运用的开源工具及接口，并未使用原游戏的任何源码。其次，我们的游戏并不涉及商业活动</a:t>
            </a:r>
            <a:r>
              <a:rPr lang="zh-CN" altLang="en-US" dirty="0">
                <a:solidFill>
                  <a:schemeClr val="tx1"/>
                </a:solidFill>
                <a:latin typeface="站酷快乐体" panose="02010600030101010101" charset="-128"/>
                <a:ea typeface="站酷快乐体" panose="02010600030101010101" charset="-128"/>
                <a:cs typeface="+mn-ea"/>
                <a:sym typeface="+mn-lt"/>
              </a:rPr>
              <a:t>，因此也不会牵扯到其他的法律问题。</a:t>
            </a:r>
            <a:endParaRPr lang="en-US" altLang="zh-CN" sz="900" dirty="0">
              <a:solidFill>
                <a:schemeClr val="tx1"/>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1797141"/>
            <a:ext cx="12192000" cy="3263718"/>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rot="18900000">
            <a:off x="5154557" y="1936338"/>
            <a:ext cx="2985324" cy="2985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18900000">
            <a:off x="3585301" y="3886003"/>
            <a:ext cx="1724108" cy="1724108"/>
          </a:xfrm>
          <a:prstGeom prst="rect">
            <a:avLst/>
          </a:prstGeom>
          <a:solidFill>
            <a:schemeClr val="accent1"/>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18900000">
            <a:off x="2273566" y="2581459"/>
            <a:ext cx="1724108" cy="1724108"/>
          </a:xfrm>
          <a:prstGeom prst="rect">
            <a:avLst/>
          </a:prstGeom>
          <a:solidFill>
            <a:schemeClr val="accent3"/>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18900000">
            <a:off x="3582373" y="1249635"/>
            <a:ext cx="1724108" cy="1724108"/>
          </a:xfrm>
          <a:prstGeom prst="rect">
            <a:avLst/>
          </a:prstGeom>
          <a:solidFill>
            <a:schemeClr val="accent2"/>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文本框 12"/>
          <p:cNvSpPr txBox="1"/>
          <p:nvPr/>
        </p:nvSpPr>
        <p:spPr>
          <a:xfrm>
            <a:off x="5946925" y="2327699"/>
            <a:ext cx="1207454" cy="1003102"/>
          </a:xfrm>
          <a:prstGeom prst="rect">
            <a:avLst/>
          </a:prstGeom>
          <a:noFill/>
          <a:ln w="117475">
            <a:noFill/>
          </a:ln>
        </p:spPr>
        <p:txBody>
          <a:bodyPr wrap="none" rtlCol="0">
            <a:prstTxWarp prst="textPlain">
              <a:avLst/>
            </a:prstTxWarp>
            <a:spAutoFit/>
          </a:bodyPr>
          <a:lstStyle/>
          <a:p>
            <a:r>
              <a:rPr lang="en-US" altLang="zh-CN"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1</a:t>
            </a:r>
            <a:endParaRPr lang="zh-CN" altLang="en-US"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
        <p:nvSpPr>
          <p:cNvPr id="15" name="矩形 14"/>
          <p:cNvSpPr/>
          <p:nvPr/>
        </p:nvSpPr>
        <p:spPr>
          <a:xfrm>
            <a:off x="5264150" y="3397885"/>
            <a:ext cx="2766695" cy="1076325"/>
          </a:xfrm>
          <a:prstGeom prst="rect">
            <a:avLst/>
          </a:prstGeom>
        </p:spPr>
        <p:txBody>
          <a:bodyPr wrap="square">
            <a:spAutoFit/>
          </a:bodyPr>
          <a:lstStyle/>
          <a:p>
            <a:pPr algn="ctr"/>
            <a:r>
              <a:rPr lang="zh-CN" altLang="en-US" sz="3200" dirty="0">
                <a:latin typeface="汉仪粗圆简" panose="02010600000101010101" charset="-122"/>
                <a:ea typeface="汉仪粗圆简" panose="02010600000101010101" charset="-122"/>
                <a:sym typeface="思源黑体" panose="020B0400000000000000" pitchFamily="34" charset="-122"/>
              </a:rPr>
              <a:t>功能模块层次设计</a:t>
            </a:r>
            <a:endParaRPr lang="zh-CN" altLang="en-US" sz="3200" dirty="0">
              <a:solidFill>
                <a:schemeClr val="tx1">
                  <a:lumMod val="75000"/>
                  <a:lumOff val="25000"/>
                </a:schemeClr>
              </a:solidFill>
              <a:latin typeface="汉仪粗圆简" panose="02010600000101010101" charset="-122"/>
              <a:ea typeface="汉仪粗圆简" panose="02010600000101010101" charset="-122"/>
            </a:endParaRPr>
          </a:p>
        </p:txBody>
      </p:sp>
      <p:grpSp>
        <p:nvGrpSpPr>
          <p:cNvPr id="5" name="组合 4"/>
          <p:cNvGrpSpPr/>
          <p:nvPr/>
        </p:nvGrpSpPr>
        <p:grpSpPr>
          <a:xfrm>
            <a:off x="4612405" y="1091381"/>
            <a:ext cx="4069626" cy="4599650"/>
            <a:chOff x="5550217" y="1317873"/>
            <a:chExt cx="3668840" cy="4146666"/>
          </a:xfrm>
        </p:grpSpPr>
        <p:sp>
          <p:nvSpPr>
            <p:cNvPr id="16" name="矩形 22"/>
            <p:cNvSpPr/>
            <p:nvPr/>
          </p:nvSpPr>
          <p:spPr>
            <a:xfrm rot="18900000" flipV="1">
              <a:off x="5550217" y="1317873"/>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22"/>
            <p:cNvSpPr/>
            <p:nvPr/>
          </p:nvSpPr>
          <p:spPr>
            <a:xfrm rot="2700000">
              <a:off x="5550217" y="1795699"/>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8" name="iconfont-10459-4813179"/>
          <p:cNvSpPr>
            <a:spLocks noChangeAspect="1"/>
          </p:cNvSpPr>
          <p:nvPr/>
        </p:nvSpPr>
        <p:spPr bwMode="auto">
          <a:xfrm>
            <a:off x="4231433" y="1797141"/>
            <a:ext cx="609685" cy="600087"/>
          </a:xfrm>
          <a:custGeom>
            <a:avLst/>
            <a:gdLst>
              <a:gd name="T0" fmla="*/ 5779 w 11379"/>
              <a:gd name="T1" fmla="*/ 0 h 11200"/>
              <a:gd name="T2" fmla="*/ 711 w 11379"/>
              <a:gd name="T3" fmla="*/ 3215 h 11200"/>
              <a:gd name="T4" fmla="*/ 711 w 11379"/>
              <a:gd name="T5" fmla="*/ 7985 h 11200"/>
              <a:gd name="T6" fmla="*/ 5779 w 11379"/>
              <a:gd name="T7" fmla="*/ 11200 h 11200"/>
              <a:gd name="T8" fmla="*/ 11379 w 11379"/>
              <a:gd name="T9" fmla="*/ 5600 h 11200"/>
              <a:gd name="T10" fmla="*/ 5779 w 11379"/>
              <a:gd name="T11" fmla="*/ 0 h 11200"/>
              <a:gd name="T12" fmla="*/ 979 w 11379"/>
              <a:gd name="T13" fmla="*/ 5600 h 11200"/>
              <a:gd name="T14" fmla="*/ 1244 w 11379"/>
              <a:gd name="T15" fmla="*/ 4022 h 11200"/>
              <a:gd name="T16" fmla="*/ 2581 w 11379"/>
              <a:gd name="T17" fmla="*/ 5600 h 11200"/>
              <a:gd name="T18" fmla="*/ 1244 w 11379"/>
              <a:gd name="T19" fmla="*/ 7178 h 11200"/>
              <a:gd name="T20" fmla="*/ 979 w 11379"/>
              <a:gd name="T21" fmla="*/ 5600 h 11200"/>
              <a:gd name="T22" fmla="*/ 9173 w 11379"/>
              <a:gd name="T23" fmla="*/ 8994 h 11200"/>
              <a:gd name="T24" fmla="*/ 5109 w 11379"/>
              <a:gd name="T25" fmla="*/ 10352 h 11200"/>
              <a:gd name="T26" fmla="*/ 1578 w 11379"/>
              <a:gd name="T27" fmla="*/ 7925 h 11200"/>
              <a:gd name="T28" fmla="*/ 3379 w 11379"/>
              <a:gd name="T29" fmla="*/ 5600 h 11200"/>
              <a:gd name="T30" fmla="*/ 1578 w 11379"/>
              <a:gd name="T31" fmla="*/ 3276 h 11200"/>
              <a:gd name="T32" fmla="*/ 4778 w 11379"/>
              <a:gd name="T33" fmla="*/ 901 h 11200"/>
              <a:gd name="T34" fmla="*/ 8669 w 11379"/>
              <a:gd name="T35" fmla="*/ 1761 h 11200"/>
              <a:gd name="T36" fmla="*/ 10571 w 11379"/>
              <a:gd name="T37" fmla="*/ 5263 h 11200"/>
              <a:gd name="T38" fmla="*/ 9173 w 11379"/>
              <a:gd name="T39" fmla="*/ 8994 h 11200"/>
              <a:gd name="T40" fmla="*/ 10179 w 11379"/>
              <a:gd name="T41" fmla="*/ 2400 h 11200"/>
              <a:gd name="T42" fmla="*/ 1379 w 11379"/>
              <a:gd name="T43" fmla="*/ 2400 h 11200"/>
              <a:gd name="T44" fmla="*/ 1379 w 11379"/>
              <a:gd name="T45" fmla="*/ 3200 h 11200"/>
              <a:gd name="T46" fmla="*/ 10179 w 11379"/>
              <a:gd name="T47" fmla="*/ 3200 h 11200"/>
              <a:gd name="T48" fmla="*/ 10179 w 11379"/>
              <a:gd name="T49" fmla="*/ 2400 h 11200"/>
              <a:gd name="T50" fmla="*/ 10179 w 11379"/>
              <a:gd name="T51" fmla="*/ 8000 h 11200"/>
              <a:gd name="T52" fmla="*/ 1379 w 11379"/>
              <a:gd name="T53" fmla="*/ 8000 h 11200"/>
              <a:gd name="T54" fmla="*/ 1379 w 11379"/>
              <a:gd name="T55" fmla="*/ 8800 h 11200"/>
              <a:gd name="T56" fmla="*/ 10179 w 11379"/>
              <a:gd name="T57" fmla="*/ 8800 h 11200"/>
              <a:gd name="T58" fmla="*/ 10179 w 11379"/>
              <a:gd name="T59" fmla="*/ 8000 h 11200"/>
              <a:gd name="T60" fmla="*/ 5379 w 11379"/>
              <a:gd name="T61" fmla="*/ 3600 h 11200"/>
              <a:gd name="T62" fmla="*/ 3779 w 11379"/>
              <a:gd name="T63" fmla="*/ 3600 h 11200"/>
              <a:gd name="T64" fmla="*/ 3779 w 11379"/>
              <a:gd name="T65" fmla="*/ 5200 h 11200"/>
              <a:gd name="T66" fmla="*/ 5379 w 11379"/>
              <a:gd name="T67" fmla="*/ 5200 h 11200"/>
              <a:gd name="T68" fmla="*/ 5379 w 11379"/>
              <a:gd name="T69" fmla="*/ 3600 h 11200"/>
              <a:gd name="T70" fmla="*/ 5379 w 11379"/>
              <a:gd name="T71" fmla="*/ 6000 h 11200"/>
              <a:gd name="T72" fmla="*/ 3779 w 11379"/>
              <a:gd name="T73" fmla="*/ 6000 h 11200"/>
              <a:gd name="T74" fmla="*/ 3779 w 11379"/>
              <a:gd name="T75" fmla="*/ 7600 h 11200"/>
              <a:gd name="T76" fmla="*/ 5379 w 11379"/>
              <a:gd name="T77" fmla="*/ 7600 h 11200"/>
              <a:gd name="T78" fmla="*/ 5379 w 11379"/>
              <a:gd name="T79" fmla="*/ 6000 h 11200"/>
              <a:gd name="T80" fmla="*/ 7379 w 11379"/>
              <a:gd name="T81" fmla="*/ 3600 h 11200"/>
              <a:gd name="T82" fmla="*/ 5779 w 11379"/>
              <a:gd name="T83" fmla="*/ 3600 h 11200"/>
              <a:gd name="T84" fmla="*/ 5779 w 11379"/>
              <a:gd name="T85" fmla="*/ 5200 h 11200"/>
              <a:gd name="T86" fmla="*/ 7379 w 11379"/>
              <a:gd name="T87" fmla="*/ 5200 h 11200"/>
              <a:gd name="T88" fmla="*/ 7379 w 11379"/>
              <a:gd name="T89" fmla="*/ 3600 h 11200"/>
              <a:gd name="T90" fmla="*/ 7379 w 11379"/>
              <a:gd name="T91" fmla="*/ 6000 h 11200"/>
              <a:gd name="T92" fmla="*/ 5779 w 11379"/>
              <a:gd name="T93" fmla="*/ 6000 h 11200"/>
              <a:gd name="T94" fmla="*/ 5779 w 11379"/>
              <a:gd name="T95" fmla="*/ 7600 h 11200"/>
              <a:gd name="T96" fmla="*/ 7379 w 11379"/>
              <a:gd name="T97" fmla="*/ 7600 h 11200"/>
              <a:gd name="T98" fmla="*/ 7379 w 11379"/>
              <a:gd name="T99" fmla="*/ 6000 h 11200"/>
              <a:gd name="T100" fmla="*/ 9379 w 11379"/>
              <a:gd name="T101" fmla="*/ 3600 h 11200"/>
              <a:gd name="T102" fmla="*/ 7779 w 11379"/>
              <a:gd name="T103" fmla="*/ 3600 h 11200"/>
              <a:gd name="T104" fmla="*/ 7779 w 11379"/>
              <a:gd name="T105" fmla="*/ 5200 h 11200"/>
              <a:gd name="T106" fmla="*/ 9379 w 11379"/>
              <a:gd name="T107" fmla="*/ 5200 h 11200"/>
              <a:gd name="T108" fmla="*/ 9379 w 11379"/>
              <a:gd name="T109" fmla="*/ 3600 h 11200"/>
              <a:gd name="T110" fmla="*/ 9379 w 11379"/>
              <a:gd name="T111" fmla="*/ 6000 h 11200"/>
              <a:gd name="T112" fmla="*/ 7779 w 11379"/>
              <a:gd name="T113" fmla="*/ 6000 h 11200"/>
              <a:gd name="T114" fmla="*/ 7779 w 11379"/>
              <a:gd name="T115" fmla="*/ 7600 h 11200"/>
              <a:gd name="T116" fmla="*/ 9379 w 11379"/>
              <a:gd name="T117" fmla="*/ 7600 h 11200"/>
              <a:gd name="T118" fmla="*/ 9379 w 11379"/>
              <a:gd name="T119" fmla="*/ 60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9" h="11200">
                <a:moveTo>
                  <a:pt x="5779" y="0"/>
                </a:moveTo>
                <a:cubicBezTo>
                  <a:pt x="3539" y="0"/>
                  <a:pt x="1607" y="1315"/>
                  <a:pt x="711" y="3215"/>
                </a:cubicBezTo>
                <a:cubicBezTo>
                  <a:pt x="0" y="4726"/>
                  <a:pt x="0" y="6474"/>
                  <a:pt x="711" y="7985"/>
                </a:cubicBezTo>
                <a:cubicBezTo>
                  <a:pt x="1607" y="9885"/>
                  <a:pt x="3539" y="11200"/>
                  <a:pt x="5779" y="11200"/>
                </a:cubicBezTo>
                <a:cubicBezTo>
                  <a:pt x="8872" y="11200"/>
                  <a:pt x="11379" y="8693"/>
                  <a:pt x="11379" y="5600"/>
                </a:cubicBezTo>
                <a:cubicBezTo>
                  <a:pt x="11379" y="2507"/>
                  <a:pt x="8872" y="0"/>
                  <a:pt x="5779" y="0"/>
                </a:cubicBezTo>
                <a:close/>
                <a:moveTo>
                  <a:pt x="979" y="5600"/>
                </a:moveTo>
                <a:cubicBezTo>
                  <a:pt x="978" y="5063"/>
                  <a:pt x="1068" y="4529"/>
                  <a:pt x="1244" y="4022"/>
                </a:cubicBezTo>
                <a:cubicBezTo>
                  <a:pt x="2016" y="4151"/>
                  <a:pt x="2581" y="4818"/>
                  <a:pt x="2581" y="5600"/>
                </a:cubicBezTo>
                <a:cubicBezTo>
                  <a:pt x="2581" y="6382"/>
                  <a:pt x="2016" y="7050"/>
                  <a:pt x="1244" y="7178"/>
                </a:cubicBezTo>
                <a:cubicBezTo>
                  <a:pt x="1068" y="6671"/>
                  <a:pt x="978" y="6137"/>
                  <a:pt x="979" y="5600"/>
                </a:cubicBezTo>
                <a:close/>
                <a:moveTo>
                  <a:pt x="9173" y="8994"/>
                </a:moveTo>
                <a:cubicBezTo>
                  <a:pt x="8107" y="10059"/>
                  <a:pt x="6602" y="10562"/>
                  <a:pt x="5109" y="10352"/>
                </a:cubicBezTo>
                <a:cubicBezTo>
                  <a:pt x="3617" y="10142"/>
                  <a:pt x="2309" y="9243"/>
                  <a:pt x="1578" y="7925"/>
                </a:cubicBezTo>
                <a:cubicBezTo>
                  <a:pt x="2638" y="7651"/>
                  <a:pt x="3379" y="6695"/>
                  <a:pt x="3379" y="5600"/>
                </a:cubicBezTo>
                <a:cubicBezTo>
                  <a:pt x="3379" y="4506"/>
                  <a:pt x="2638" y="3549"/>
                  <a:pt x="1578" y="3276"/>
                </a:cubicBezTo>
                <a:cubicBezTo>
                  <a:pt x="2251" y="2058"/>
                  <a:pt x="3418" y="1192"/>
                  <a:pt x="4778" y="901"/>
                </a:cubicBezTo>
                <a:cubicBezTo>
                  <a:pt x="6138" y="611"/>
                  <a:pt x="7558" y="924"/>
                  <a:pt x="8669" y="1761"/>
                </a:cubicBezTo>
                <a:cubicBezTo>
                  <a:pt x="9780" y="2598"/>
                  <a:pt x="10474" y="3875"/>
                  <a:pt x="10571" y="5263"/>
                </a:cubicBezTo>
                <a:cubicBezTo>
                  <a:pt x="10667" y="6650"/>
                  <a:pt x="10157" y="8011"/>
                  <a:pt x="9173" y="8994"/>
                </a:cubicBezTo>
                <a:close/>
                <a:moveTo>
                  <a:pt x="10179" y="2400"/>
                </a:moveTo>
                <a:lnTo>
                  <a:pt x="1379" y="2400"/>
                </a:lnTo>
                <a:lnTo>
                  <a:pt x="1379" y="3200"/>
                </a:lnTo>
                <a:lnTo>
                  <a:pt x="10179" y="3200"/>
                </a:lnTo>
                <a:lnTo>
                  <a:pt x="10179" y="2400"/>
                </a:lnTo>
                <a:close/>
                <a:moveTo>
                  <a:pt x="10179" y="8000"/>
                </a:moveTo>
                <a:lnTo>
                  <a:pt x="1379" y="8000"/>
                </a:lnTo>
                <a:lnTo>
                  <a:pt x="1379" y="8800"/>
                </a:lnTo>
                <a:lnTo>
                  <a:pt x="10179" y="8800"/>
                </a:lnTo>
                <a:lnTo>
                  <a:pt x="10179" y="8000"/>
                </a:lnTo>
                <a:close/>
                <a:moveTo>
                  <a:pt x="5379" y="3600"/>
                </a:moveTo>
                <a:lnTo>
                  <a:pt x="3779" y="3600"/>
                </a:lnTo>
                <a:lnTo>
                  <a:pt x="3779" y="5200"/>
                </a:lnTo>
                <a:lnTo>
                  <a:pt x="5379" y="5200"/>
                </a:lnTo>
                <a:lnTo>
                  <a:pt x="5379" y="3600"/>
                </a:lnTo>
                <a:close/>
                <a:moveTo>
                  <a:pt x="5379" y="6000"/>
                </a:moveTo>
                <a:lnTo>
                  <a:pt x="3779" y="6000"/>
                </a:lnTo>
                <a:lnTo>
                  <a:pt x="3779" y="7600"/>
                </a:lnTo>
                <a:lnTo>
                  <a:pt x="5379" y="7600"/>
                </a:lnTo>
                <a:lnTo>
                  <a:pt x="5379" y="6000"/>
                </a:lnTo>
                <a:close/>
                <a:moveTo>
                  <a:pt x="7379" y="3600"/>
                </a:moveTo>
                <a:lnTo>
                  <a:pt x="5779" y="3600"/>
                </a:lnTo>
                <a:lnTo>
                  <a:pt x="5779" y="5200"/>
                </a:lnTo>
                <a:lnTo>
                  <a:pt x="7379" y="5200"/>
                </a:lnTo>
                <a:lnTo>
                  <a:pt x="7379" y="3600"/>
                </a:lnTo>
                <a:close/>
                <a:moveTo>
                  <a:pt x="7379" y="6000"/>
                </a:moveTo>
                <a:lnTo>
                  <a:pt x="5779" y="6000"/>
                </a:lnTo>
                <a:lnTo>
                  <a:pt x="5779" y="7600"/>
                </a:lnTo>
                <a:lnTo>
                  <a:pt x="7379" y="7600"/>
                </a:lnTo>
                <a:lnTo>
                  <a:pt x="7379" y="6000"/>
                </a:lnTo>
                <a:close/>
                <a:moveTo>
                  <a:pt x="9379" y="3600"/>
                </a:moveTo>
                <a:lnTo>
                  <a:pt x="7779" y="3600"/>
                </a:lnTo>
                <a:lnTo>
                  <a:pt x="7779" y="5200"/>
                </a:lnTo>
                <a:lnTo>
                  <a:pt x="9379" y="5200"/>
                </a:lnTo>
                <a:lnTo>
                  <a:pt x="9379" y="3600"/>
                </a:lnTo>
                <a:close/>
                <a:moveTo>
                  <a:pt x="9379" y="6000"/>
                </a:moveTo>
                <a:lnTo>
                  <a:pt x="7779" y="6000"/>
                </a:lnTo>
                <a:lnTo>
                  <a:pt x="7779" y="7600"/>
                </a:lnTo>
                <a:lnTo>
                  <a:pt x="9379" y="7600"/>
                </a:lnTo>
                <a:lnTo>
                  <a:pt x="9379" y="6000"/>
                </a:lnTo>
                <a:close/>
              </a:path>
            </a:pathLst>
          </a:custGeom>
          <a:solidFill>
            <a:schemeClr val="bg1"/>
          </a:solidFill>
          <a:ln>
            <a:noFill/>
          </a:ln>
        </p:spPr>
      </p:sp>
      <p:sp>
        <p:nvSpPr>
          <p:cNvPr id="19" name="iconfont-10459-4813181"/>
          <p:cNvSpPr>
            <a:spLocks noChangeAspect="1"/>
          </p:cNvSpPr>
          <p:nvPr/>
        </p:nvSpPr>
        <p:spPr bwMode="auto">
          <a:xfrm>
            <a:off x="2864696" y="3215149"/>
            <a:ext cx="609685" cy="597919"/>
          </a:xfrm>
          <a:custGeom>
            <a:avLst/>
            <a:gdLst>
              <a:gd name="T0" fmla="*/ 8480 w 11552"/>
              <a:gd name="T1" fmla="*/ 5776 h 11328"/>
              <a:gd name="T2" fmla="*/ 7632 w 11552"/>
              <a:gd name="T3" fmla="*/ 0 h 11328"/>
              <a:gd name="T4" fmla="*/ 0 w 11552"/>
              <a:gd name="T5" fmla="*/ 848 h 11328"/>
              <a:gd name="T6" fmla="*/ 848 w 11552"/>
              <a:gd name="T7" fmla="*/ 11328 h 11328"/>
              <a:gd name="T8" fmla="*/ 6032 w 11552"/>
              <a:gd name="T9" fmla="*/ 6656 h 11328"/>
              <a:gd name="T10" fmla="*/ 2048 w 11552"/>
              <a:gd name="T11" fmla="*/ 1392 h 11328"/>
              <a:gd name="T12" fmla="*/ 7152 w 11552"/>
              <a:gd name="T13" fmla="*/ 2096 h 11328"/>
              <a:gd name="T14" fmla="*/ 2048 w 11552"/>
              <a:gd name="T15" fmla="*/ 2800 h 11328"/>
              <a:gd name="T16" fmla="*/ 2048 w 11552"/>
              <a:gd name="T17" fmla="*/ 1392 h 11328"/>
              <a:gd name="T18" fmla="*/ 2048 w 11552"/>
              <a:gd name="T19" fmla="*/ 3552 h 11328"/>
              <a:gd name="T20" fmla="*/ 7152 w 11552"/>
              <a:gd name="T21" fmla="*/ 4256 h 11328"/>
              <a:gd name="T22" fmla="*/ 2048 w 11552"/>
              <a:gd name="T23" fmla="*/ 4960 h 11328"/>
              <a:gd name="T24" fmla="*/ 4240 w 11552"/>
              <a:gd name="T25" fmla="*/ 8160 h 11328"/>
              <a:gd name="T26" fmla="*/ 4240 w 11552"/>
              <a:gd name="T27" fmla="*/ 6080 h 11328"/>
              <a:gd name="T28" fmla="*/ 4240 w 11552"/>
              <a:gd name="T29" fmla="*/ 8160 h 11328"/>
              <a:gd name="T30" fmla="*/ 6512 w 11552"/>
              <a:gd name="T31" fmla="*/ 9088 h 11328"/>
              <a:gd name="T32" fmla="*/ 7632 w 11552"/>
              <a:gd name="T33" fmla="*/ 10768 h 11328"/>
              <a:gd name="T34" fmla="*/ 7632 w 11552"/>
              <a:gd name="T35" fmla="*/ 8528 h 11328"/>
              <a:gd name="T36" fmla="*/ 9552 w 11552"/>
              <a:gd name="T37" fmla="*/ 8400 h 11328"/>
              <a:gd name="T38" fmla="*/ 9168 w 11552"/>
              <a:gd name="T39" fmla="*/ 7824 h 11328"/>
              <a:gd name="T40" fmla="*/ 8976 w 11552"/>
              <a:gd name="T41" fmla="*/ 8208 h 11328"/>
              <a:gd name="T42" fmla="*/ 8896 w 11552"/>
              <a:gd name="T43" fmla="*/ 9264 h 11328"/>
              <a:gd name="T44" fmla="*/ 9104 w 11552"/>
              <a:gd name="T45" fmla="*/ 9632 h 11328"/>
              <a:gd name="T46" fmla="*/ 9552 w 11552"/>
              <a:gd name="T47" fmla="*/ 8400 h 11328"/>
              <a:gd name="T48" fmla="*/ 10480 w 11552"/>
              <a:gd name="T49" fmla="*/ 8128 h 11328"/>
              <a:gd name="T50" fmla="*/ 9824 w 11552"/>
              <a:gd name="T51" fmla="*/ 7216 h 11328"/>
              <a:gd name="T52" fmla="*/ 9664 w 11552"/>
              <a:gd name="T53" fmla="*/ 7632 h 11328"/>
              <a:gd name="T54" fmla="*/ 9520 w 11552"/>
              <a:gd name="T55" fmla="*/ 9888 h 11328"/>
              <a:gd name="T56" fmla="*/ 9696 w 11552"/>
              <a:gd name="T57" fmla="*/ 10288 h 11328"/>
              <a:gd name="T58" fmla="*/ 10496 w 11552"/>
              <a:gd name="T59" fmla="*/ 9072 h 11328"/>
              <a:gd name="T60" fmla="*/ 10768 w 11552"/>
              <a:gd name="T61" fmla="*/ 6688 h 11328"/>
              <a:gd name="T62" fmla="*/ 10336 w 11552"/>
              <a:gd name="T63" fmla="*/ 6832 h 11328"/>
              <a:gd name="T64" fmla="*/ 10896 w 11552"/>
              <a:gd name="T65" fmla="*/ 9520 h 11328"/>
              <a:gd name="T66" fmla="*/ 10128 w 11552"/>
              <a:gd name="T67" fmla="*/ 10784 h 11328"/>
              <a:gd name="T68" fmla="*/ 10528 w 11552"/>
              <a:gd name="T69" fmla="*/ 10960 h 11328"/>
              <a:gd name="T70" fmla="*/ 11504 w 11552"/>
              <a:gd name="T71" fmla="*/ 8336 h 1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2" h="11328">
                <a:moveTo>
                  <a:pt x="6928" y="5776"/>
                </a:moveTo>
                <a:lnTo>
                  <a:pt x="8480" y="5776"/>
                </a:lnTo>
                <a:lnTo>
                  <a:pt x="8480" y="848"/>
                </a:lnTo>
                <a:cubicBezTo>
                  <a:pt x="8480" y="384"/>
                  <a:pt x="8096" y="0"/>
                  <a:pt x="7632" y="0"/>
                </a:cubicBezTo>
                <a:lnTo>
                  <a:pt x="864" y="0"/>
                </a:lnTo>
                <a:cubicBezTo>
                  <a:pt x="384" y="0"/>
                  <a:pt x="0" y="384"/>
                  <a:pt x="0" y="848"/>
                </a:cubicBezTo>
                <a:lnTo>
                  <a:pt x="0" y="10480"/>
                </a:lnTo>
                <a:cubicBezTo>
                  <a:pt x="0" y="10944"/>
                  <a:pt x="384" y="11328"/>
                  <a:pt x="848" y="11328"/>
                </a:cubicBezTo>
                <a:lnTo>
                  <a:pt x="6032" y="11328"/>
                </a:lnTo>
                <a:lnTo>
                  <a:pt x="6032" y="6656"/>
                </a:lnTo>
                <a:cubicBezTo>
                  <a:pt x="6048" y="6176"/>
                  <a:pt x="6448" y="5776"/>
                  <a:pt x="6928" y="5776"/>
                </a:cubicBezTo>
                <a:close/>
                <a:moveTo>
                  <a:pt x="2048" y="1392"/>
                </a:moveTo>
                <a:lnTo>
                  <a:pt x="6448" y="1392"/>
                </a:lnTo>
                <a:cubicBezTo>
                  <a:pt x="6832" y="1392"/>
                  <a:pt x="7152" y="1712"/>
                  <a:pt x="7152" y="2096"/>
                </a:cubicBezTo>
                <a:cubicBezTo>
                  <a:pt x="7152" y="2480"/>
                  <a:pt x="6832" y="2800"/>
                  <a:pt x="6448" y="2800"/>
                </a:cubicBezTo>
                <a:lnTo>
                  <a:pt x="2048" y="2800"/>
                </a:lnTo>
                <a:cubicBezTo>
                  <a:pt x="1664" y="2800"/>
                  <a:pt x="1344" y="2480"/>
                  <a:pt x="1344" y="2096"/>
                </a:cubicBezTo>
                <a:cubicBezTo>
                  <a:pt x="1344" y="1712"/>
                  <a:pt x="1664" y="1392"/>
                  <a:pt x="2048" y="1392"/>
                </a:cubicBezTo>
                <a:close/>
                <a:moveTo>
                  <a:pt x="1344" y="4256"/>
                </a:moveTo>
                <a:cubicBezTo>
                  <a:pt x="1344" y="3872"/>
                  <a:pt x="1664" y="3552"/>
                  <a:pt x="2048" y="3552"/>
                </a:cubicBezTo>
                <a:lnTo>
                  <a:pt x="6448" y="3552"/>
                </a:lnTo>
                <a:cubicBezTo>
                  <a:pt x="6832" y="3552"/>
                  <a:pt x="7152" y="3872"/>
                  <a:pt x="7152" y="4256"/>
                </a:cubicBezTo>
                <a:cubicBezTo>
                  <a:pt x="7152" y="4640"/>
                  <a:pt x="6832" y="4960"/>
                  <a:pt x="6448" y="4960"/>
                </a:cubicBezTo>
                <a:lnTo>
                  <a:pt x="2048" y="4960"/>
                </a:lnTo>
                <a:cubicBezTo>
                  <a:pt x="1664" y="4944"/>
                  <a:pt x="1344" y="4624"/>
                  <a:pt x="1344" y="4256"/>
                </a:cubicBezTo>
                <a:close/>
                <a:moveTo>
                  <a:pt x="4240" y="8160"/>
                </a:moveTo>
                <a:cubicBezTo>
                  <a:pt x="3664" y="8160"/>
                  <a:pt x="3200" y="7696"/>
                  <a:pt x="3200" y="7120"/>
                </a:cubicBezTo>
                <a:cubicBezTo>
                  <a:pt x="3200" y="6544"/>
                  <a:pt x="3664" y="6080"/>
                  <a:pt x="4240" y="6080"/>
                </a:cubicBezTo>
                <a:cubicBezTo>
                  <a:pt x="4816" y="6080"/>
                  <a:pt x="5280" y="6544"/>
                  <a:pt x="5280" y="7120"/>
                </a:cubicBezTo>
                <a:cubicBezTo>
                  <a:pt x="5296" y="7696"/>
                  <a:pt x="4832" y="8160"/>
                  <a:pt x="4240" y="8160"/>
                </a:cubicBezTo>
                <a:close/>
                <a:moveTo>
                  <a:pt x="7632" y="6848"/>
                </a:moveTo>
                <a:lnTo>
                  <a:pt x="6512" y="9088"/>
                </a:lnTo>
                <a:lnTo>
                  <a:pt x="7632" y="9088"/>
                </a:lnTo>
                <a:lnTo>
                  <a:pt x="7632" y="10768"/>
                </a:lnTo>
                <a:lnTo>
                  <a:pt x="8752" y="8528"/>
                </a:lnTo>
                <a:lnTo>
                  <a:pt x="7632" y="8528"/>
                </a:lnTo>
                <a:lnTo>
                  <a:pt x="7632" y="6848"/>
                </a:lnTo>
                <a:close/>
                <a:moveTo>
                  <a:pt x="9552" y="8400"/>
                </a:moveTo>
                <a:cubicBezTo>
                  <a:pt x="9504" y="8112"/>
                  <a:pt x="9376" y="7952"/>
                  <a:pt x="9360" y="7920"/>
                </a:cubicBezTo>
                <a:cubicBezTo>
                  <a:pt x="9312" y="7856"/>
                  <a:pt x="9248" y="7824"/>
                  <a:pt x="9168" y="7824"/>
                </a:cubicBezTo>
                <a:cubicBezTo>
                  <a:pt x="9040" y="7824"/>
                  <a:pt x="8928" y="7936"/>
                  <a:pt x="8928" y="8064"/>
                </a:cubicBezTo>
                <a:cubicBezTo>
                  <a:pt x="8928" y="8112"/>
                  <a:pt x="8944" y="8176"/>
                  <a:pt x="8976" y="8208"/>
                </a:cubicBezTo>
                <a:cubicBezTo>
                  <a:pt x="8976" y="8208"/>
                  <a:pt x="9040" y="8304"/>
                  <a:pt x="9072" y="8480"/>
                </a:cubicBezTo>
                <a:cubicBezTo>
                  <a:pt x="9120" y="8736"/>
                  <a:pt x="9056" y="8992"/>
                  <a:pt x="8896" y="9264"/>
                </a:cubicBezTo>
                <a:cubicBezTo>
                  <a:pt x="8880" y="9296"/>
                  <a:pt x="8864" y="9344"/>
                  <a:pt x="8864" y="9392"/>
                </a:cubicBezTo>
                <a:cubicBezTo>
                  <a:pt x="8864" y="9520"/>
                  <a:pt x="8976" y="9632"/>
                  <a:pt x="9104" y="9632"/>
                </a:cubicBezTo>
                <a:cubicBezTo>
                  <a:pt x="9200" y="9632"/>
                  <a:pt x="9264" y="9584"/>
                  <a:pt x="9312" y="9520"/>
                </a:cubicBezTo>
                <a:cubicBezTo>
                  <a:pt x="9584" y="9056"/>
                  <a:pt x="9584" y="8656"/>
                  <a:pt x="9552" y="8400"/>
                </a:cubicBezTo>
                <a:close/>
                <a:moveTo>
                  <a:pt x="10496" y="9072"/>
                </a:moveTo>
                <a:cubicBezTo>
                  <a:pt x="10576" y="8752"/>
                  <a:pt x="10560" y="8432"/>
                  <a:pt x="10480" y="8128"/>
                </a:cubicBezTo>
                <a:cubicBezTo>
                  <a:pt x="10336" y="7600"/>
                  <a:pt x="10000" y="7296"/>
                  <a:pt x="9984" y="7280"/>
                </a:cubicBezTo>
                <a:cubicBezTo>
                  <a:pt x="9936" y="7248"/>
                  <a:pt x="9888" y="7216"/>
                  <a:pt x="9824" y="7216"/>
                </a:cubicBezTo>
                <a:cubicBezTo>
                  <a:pt x="9696" y="7216"/>
                  <a:pt x="9584" y="7328"/>
                  <a:pt x="9584" y="7456"/>
                </a:cubicBezTo>
                <a:cubicBezTo>
                  <a:pt x="9584" y="7520"/>
                  <a:pt x="9616" y="7584"/>
                  <a:pt x="9664" y="7632"/>
                </a:cubicBezTo>
                <a:cubicBezTo>
                  <a:pt x="9664" y="7632"/>
                  <a:pt x="9920" y="7872"/>
                  <a:pt x="10032" y="8272"/>
                </a:cubicBezTo>
                <a:cubicBezTo>
                  <a:pt x="10176" y="8800"/>
                  <a:pt x="10000" y="9344"/>
                  <a:pt x="9520" y="9888"/>
                </a:cubicBezTo>
                <a:cubicBezTo>
                  <a:pt x="9488" y="9936"/>
                  <a:pt x="9456" y="9984"/>
                  <a:pt x="9456" y="10048"/>
                </a:cubicBezTo>
                <a:cubicBezTo>
                  <a:pt x="9456" y="10176"/>
                  <a:pt x="9568" y="10288"/>
                  <a:pt x="9696" y="10288"/>
                </a:cubicBezTo>
                <a:cubicBezTo>
                  <a:pt x="9776" y="10288"/>
                  <a:pt x="9840" y="10256"/>
                  <a:pt x="9888" y="10208"/>
                </a:cubicBezTo>
                <a:cubicBezTo>
                  <a:pt x="10192" y="9840"/>
                  <a:pt x="10400" y="9456"/>
                  <a:pt x="10496" y="9072"/>
                </a:cubicBezTo>
                <a:close/>
                <a:moveTo>
                  <a:pt x="11504" y="8336"/>
                </a:moveTo>
                <a:cubicBezTo>
                  <a:pt x="11424" y="7776"/>
                  <a:pt x="11184" y="7216"/>
                  <a:pt x="10768" y="6688"/>
                </a:cubicBezTo>
                <a:cubicBezTo>
                  <a:pt x="10720" y="6624"/>
                  <a:pt x="10656" y="6592"/>
                  <a:pt x="10576" y="6592"/>
                </a:cubicBezTo>
                <a:cubicBezTo>
                  <a:pt x="10448" y="6592"/>
                  <a:pt x="10336" y="6704"/>
                  <a:pt x="10336" y="6832"/>
                </a:cubicBezTo>
                <a:cubicBezTo>
                  <a:pt x="10336" y="6880"/>
                  <a:pt x="10352" y="6944"/>
                  <a:pt x="10384" y="6976"/>
                </a:cubicBezTo>
                <a:cubicBezTo>
                  <a:pt x="11040" y="7808"/>
                  <a:pt x="11200" y="8656"/>
                  <a:pt x="10896" y="9520"/>
                </a:cubicBezTo>
                <a:cubicBezTo>
                  <a:pt x="10656" y="10176"/>
                  <a:pt x="10208" y="10592"/>
                  <a:pt x="10208" y="10608"/>
                </a:cubicBezTo>
                <a:cubicBezTo>
                  <a:pt x="10160" y="10656"/>
                  <a:pt x="10128" y="10720"/>
                  <a:pt x="10128" y="10784"/>
                </a:cubicBezTo>
                <a:cubicBezTo>
                  <a:pt x="10128" y="10912"/>
                  <a:pt x="10240" y="11024"/>
                  <a:pt x="10368" y="11024"/>
                </a:cubicBezTo>
                <a:cubicBezTo>
                  <a:pt x="10432" y="11024"/>
                  <a:pt x="10496" y="10992"/>
                  <a:pt x="10528" y="10960"/>
                </a:cubicBezTo>
                <a:cubicBezTo>
                  <a:pt x="10544" y="10944"/>
                  <a:pt x="11056" y="10464"/>
                  <a:pt x="11344" y="9712"/>
                </a:cubicBezTo>
                <a:cubicBezTo>
                  <a:pt x="11504" y="9264"/>
                  <a:pt x="11552" y="8800"/>
                  <a:pt x="11504" y="8336"/>
                </a:cubicBezTo>
                <a:close/>
              </a:path>
            </a:pathLst>
          </a:custGeom>
          <a:solidFill>
            <a:schemeClr val="bg1"/>
          </a:solidFill>
          <a:ln>
            <a:noFill/>
          </a:ln>
        </p:spPr>
      </p:sp>
      <p:sp>
        <p:nvSpPr>
          <p:cNvPr id="20" name="iconfont-10043-4933350"/>
          <p:cNvSpPr>
            <a:spLocks noChangeAspect="1"/>
          </p:cNvSpPr>
          <p:nvPr/>
        </p:nvSpPr>
        <p:spPr bwMode="auto">
          <a:xfrm>
            <a:off x="4110087" y="4474469"/>
            <a:ext cx="609685" cy="609685"/>
          </a:xfrm>
          <a:custGeom>
            <a:avLst/>
            <a:gdLst>
              <a:gd name="T0" fmla="*/ 5400 w 10800"/>
              <a:gd name="T1" fmla="*/ 10800 h 10800"/>
              <a:gd name="T2" fmla="*/ 0 w 10800"/>
              <a:gd name="T3" fmla="*/ 5400 h 10800"/>
              <a:gd name="T4" fmla="*/ 5400 w 10800"/>
              <a:gd name="T5" fmla="*/ 0 h 10800"/>
              <a:gd name="T6" fmla="*/ 10800 w 10800"/>
              <a:gd name="T7" fmla="*/ 5400 h 10800"/>
              <a:gd name="T8" fmla="*/ 5400 w 10800"/>
              <a:gd name="T9" fmla="*/ 10800 h 10800"/>
              <a:gd name="T10" fmla="*/ 5400 w 10800"/>
              <a:gd name="T11" fmla="*/ 800 h 10800"/>
              <a:gd name="T12" fmla="*/ 800 w 10800"/>
              <a:gd name="T13" fmla="*/ 5400 h 10800"/>
              <a:gd name="T14" fmla="*/ 5400 w 10800"/>
              <a:gd name="T15" fmla="*/ 10000 h 10800"/>
              <a:gd name="T16" fmla="*/ 10000 w 10800"/>
              <a:gd name="T17" fmla="*/ 5400 h 10800"/>
              <a:gd name="T18" fmla="*/ 5400 w 10800"/>
              <a:gd name="T19" fmla="*/ 800 h 10800"/>
              <a:gd name="T20" fmla="*/ 7400 w 10800"/>
              <a:gd name="T21" fmla="*/ 5880 h 10800"/>
              <a:gd name="T22" fmla="*/ 5800 w 10800"/>
              <a:gd name="T23" fmla="*/ 5880 h 10800"/>
              <a:gd name="T24" fmla="*/ 5800 w 10800"/>
              <a:gd name="T25" fmla="*/ 5080 h 10800"/>
              <a:gd name="T26" fmla="*/ 7400 w 10800"/>
              <a:gd name="T27" fmla="*/ 5080 h 10800"/>
              <a:gd name="T28" fmla="*/ 7800 w 10800"/>
              <a:gd name="T29" fmla="*/ 4680 h 10800"/>
              <a:gd name="T30" fmla="*/ 7400 w 10800"/>
              <a:gd name="T31" fmla="*/ 4280 h 10800"/>
              <a:gd name="T32" fmla="*/ 6280 w 10800"/>
              <a:gd name="T33" fmla="*/ 4280 h 10800"/>
              <a:gd name="T34" fmla="*/ 7380 w 10800"/>
              <a:gd name="T35" fmla="*/ 3180 h 10800"/>
              <a:gd name="T36" fmla="*/ 7380 w 10800"/>
              <a:gd name="T37" fmla="*/ 2620 h 10800"/>
              <a:gd name="T38" fmla="*/ 6820 w 10800"/>
              <a:gd name="T39" fmla="*/ 2620 h 10800"/>
              <a:gd name="T40" fmla="*/ 5400 w 10800"/>
              <a:gd name="T41" fmla="*/ 4040 h 10800"/>
              <a:gd name="T42" fmla="*/ 3980 w 10800"/>
              <a:gd name="T43" fmla="*/ 2620 h 10800"/>
              <a:gd name="T44" fmla="*/ 3420 w 10800"/>
              <a:gd name="T45" fmla="*/ 2620 h 10800"/>
              <a:gd name="T46" fmla="*/ 3420 w 10800"/>
              <a:gd name="T47" fmla="*/ 3180 h 10800"/>
              <a:gd name="T48" fmla="*/ 4520 w 10800"/>
              <a:gd name="T49" fmla="*/ 4280 h 10800"/>
              <a:gd name="T50" fmla="*/ 3400 w 10800"/>
              <a:gd name="T51" fmla="*/ 4280 h 10800"/>
              <a:gd name="T52" fmla="*/ 3000 w 10800"/>
              <a:gd name="T53" fmla="*/ 4680 h 10800"/>
              <a:gd name="T54" fmla="*/ 3400 w 10800"/>
              <a:gd name="T55" fmla="*/ 5080 h 10800"/>
              <a:gd name="T56" fmla="*/ 5000 w 10800"/>
              <a:gd name="T57" fmla="*/ 5080 h 10800"/>
              <a:gd name="T58" fmla="*/ 5000 w 10800"/>
              <a:gd name="T59" fmla="*/ 5880 h 10800"/>
              <a:gd name="T60" fmla="*/ 3400 w 10800"/>
              <a:gd name="T61" fmla="*/ 5880 h 10800"/>
              <a:gd name="T62" fmla="*/ 3000 w 10800"/>
              <a:gd name="T63" fmla="*/ 6280 h 10800"/>
              <a:gd name="T64" fmla="*/ 3400 w 10800"/>
              <a:gd name="T65" fmla="*/ 6680 h 10800"/>
              <a:gd name="T66" fmla="*/ 5000 w 10800"/>
              <a:gd name="T67" fmla="*/ 6680 h 10800"/>
              <a:gd name="T68" fmla="*/ 5000 w 10800"/>
              <a:gd name="T69" fmla="*/ 8280 h 10800"/>
              <a:gd name="T70" fmla="*/ 5400 w 10800"/>
              <a:gd name="T71" fmla="*/ 8680 h 10800"/>
              <a:gd name="T72" fmla="*/ 5800 w 10800"/>
              <a:gd name="T73" fmla="*/ 8280 h 10800"/>
              <a:gd name="T74" fmla="*/ 5800 w 10800"/>
              <a:gd name="T75" fmla="*/ 6680 h 10800"/>
              <a:gd name="T76" fmla="*/ 7400 w 10800"/>
              <a:gd name="T77" fmla="*/ 6680 h 10800"/>
              <a:gd name="T78" fmla="*/ 7800 w 10800"/>
              <a:gd name="T79" fmla="*/ 6280 h 10800"/>
              <a:gd name="T80" fmla="*/ 7400 w 10800"/>
              <a:gd name="T81" fmla="*/ 5880 h 10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00" h="10800">
                <a:moveTo>
                  <a:pt x="5400" y="10800"/>
                </a:moveTo>
                <a:cubicBezTo>
                  <a:pt x="2420" y="10800"/>
                  <a:pt x="0" y="8380"/>
                  <a:pt x="0" y="5400"/>
                </a:cubicBezTo>
                <a:cubicBezTo>
                  <a:pt x="0" y="2420"/>
                  <a:pt x="2420" y="0"/>
                  <a:pt x="5400" y="0"/>
                </a:cubicBezTo>
                <a:cubicBezTo>
                  <a:pt x="8380" y="0"/>
                  <a:pt x="10800" y="2420"/>
                  <a:pt x="10800" y="5400"/>
                </a:cubicBezTo>
                <a:cubicBezTo>
                  <a:pt x="10800" y="8380"/>
                  <a:pt x="8380" y="10800"/>
                  <a:pt x="5400" y="10800"/>
                </a:cubicBezTo>
                <a:close/>
                <a:moveTo>
                  <a:pt x="5400" y="800"/>
                </a:moveTo>
                <a:cubicBezTo>
                  <a:pt x="2860" y="800"/>
                  <a:pt x="800" y="2860"/>
                  <a:pt x="800" y="5400"/>
                </a:cubicBezTo>
                <a:cubicBezTo>
                  <a:pt x="800" y="7940"/>
                  <a:pt x="2860" y="10000"/>
                  <a:pt x="5400" y="10000"/>
                </a:cubicBezTo>
                <a:cubicBezTo>
                  <a:pt x="7940" y="10000"/>
                  <a:pt x="10000" y="7940"/>
                  <a:pt x="10000" y="5400"/>
                </a:cubicBezTo>
                <a:cubicBezTo>
                  <a:pt x="10000" y="2860"/>
                  <a:pt x="7940" y="800"/>
                  <a:pt x="5400" y="800"/>
                </a:cubicBezTo>
                <a:close/>
                <a:moveTo>
                  <a:pt x="7400" y="5880"/>
                </a:moveTo>
                <a:lnTo>
                  <a:pt x="5800" y="5880"/>
                </a:lnTo>
                <a:lnTo>
                  <a:pt x="5800" y="5080"/>
                </a:lnTo>
                <a:lnTo>
                  <a:pt x="7400" y="5080"/>
                </a:lnTo>
                <a:cubicBezTo>
                  <a:pt x="7620" y="5080"/>
                  <a:pt x="7800" y="4900"/>
                  <a:pt x="7800" y="4680"/>
                </a:cubicBezTo>
                <a:cubicBezTo>
                  <a:pt x="7800" y="4460"/>
                  <a:pt x="7620" y="4280"/>
                  <a:pt x="7400" y="4280"/>
                </a:cubicBezTo>
                <a:lnTo>
                  <a:pt x="6280" y="4280"/>
                </a:lnTo>
                <a:lnTo>
                  <a:pt x="7380" y="3180"/>
                </a:lnTo>
                <a:cubicBezTo>
                  <a:pt x="7540" y="3020"/>
                  <a:pt x="7540" y="2780"/>
                  <a:pt x="7380" y="2620"/>
                </a:cubicBezTo>
                <a:cubicBezTo>
                  <a:pt x="7220" y="2460"/>
                  <a:pt x="6980" y="2460"/>
                  <a:pt x="6820" y="2620"/>
                </a:cubicBezTo>
                <a:lnTo>
                  <a:pt x="5400" y="4040"/>
                </a:lnTo>
                <a:lnTo>
                  <a:pt x="3980" y="2620"/>
                </a:lnTo>
                <a:cubicBezTo>
                  <a:pt x="3820" y="2460"/>
                  <a:pt x="3580" y="2460"/>
                  <a:pt x="3420" y="2620"/>
                </a:cubicBezTo>
                <a:cubicBezTo>
                  <a:pt x="3260" y="2780"/>
                  <a:pt x="3260" y="3020"/>
                  <a:pt x="3420" y="3180"/>
                </a:cubicBezTo>
                <a:lnTo>
                  <a:pt x="4520" y="4280"/>
                </a:lnTo>
                <a:lnTo>
                  <a:pt x="3400" y="4280"/>
                </a:lnTo>
                <a:cubicBezTo>
                  <a:pt x="3180" y="4280"/>
                  <a:pt x="3000" y="4460"/>
                  <a:pt x="3000" y="4680"/>
                </a:cubicBezTo>
                <a:cubicBezTo>
                  <a:pt x="3000" y="4900"/>
                  <a:pt x="3180" y="5080"/>
                  <a:pt x="3400" y="5080"/>
                </a:cubicBezTo>
                <a:lnTo>
                  <a:pt x="5000" y="5080"/>
                </a:lnTo>
                <a:lnTo>
                  <a:pt x="5000" y="5880"/>
                </a:lnTo>
                <a:lnTo>
                  <a:pt x="3400" y="5880"/>
                </a:lnTo>
                <a:cubicBezTo>
                  <a:pt x="3180" y="5880"/>
                  <a:pt x="3000" y="6060"/>
                  <a:pt x="3000" y="6280"/>
                </a:cubicBezTo>
                <a:cubicBezTo>
                  <a:pt x="3000" y="6500"/>
                  <a:pt x="3180" y="6680"/>
                  <a:pt x="3400" y="6680"/>
                </a:cubicBezTo>
                <a:lnTo>
                  <a:pt x="5000" y="6680"/>
                </a:lnTo>
                <a:lnTo>
                  <a:pt x="5000" y="8280"/>
                </a:lnTo>
                <a:cubicBezTo>
                  <a:pt x="5000" y="8500"/>
                  <a:pt x="5180" y="8680"/>
                  <a:pt x="5400" y="8680"/>
                </a:cubicBezTo>
                <a:cubicBezTo>
                  <a:pt x="5620" y="8680"/>
                  <a:pt x="5800" y="8500"/>
                  <a:pt x="5800" y="8280"/>
                </a:cubicBezTo>
                <a:lnTo>
                  <a:pt x="5800" y="6680"/>
                </a:lnTo>
                <a:lnTo>
                  <a:pt x="7400" y="6680"/>
                </a:lnTo>
                <a:cubicBezTo>
                  <a:pt x="7620" y="6680"/>
                  <a:pt x="7800" y="6500"/>
                  <a:pt x="7800" y="6280"/>
                </a:cubicBezTo>
                <a:cubicBezTo>
                  <a:pt x="7800" y="6060"/>
                  <a:pt x="7620" y="5880"/>
                  <a:pt x="7400" y="5880"/>
                </a:cubicBezTo>
                <a:close/>
              </a:path>
            </a:pathLst>
          </a:custGeom>
          <a:solidFill>
            <a:schemeClr val="bg1"/>
          </a:solidFill>
          <a:ln>
            <a:noFill/>
          </a:ln>
        </p:spPr>
      </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占位符 4"/>
          <p:cNvPicPr>
            <a:picLocks noGrp="1" noChangeAspect="1"/>
          </p:cNvPicPr>
          <p:nvPr>
            <p:ph type="pic" sz="quarter" idx="10"/>
          </p:nvPr>
        </p:nvPicPr>
        <p:blipFill>
          <a:blip r:embed="rId1">
            <a:extLst>
              <a:ext uri="{28A0092B-C50C-407E-A947-70E740481C1C}">
                <a14:useLocalDpi xmlns:a14="http://schemas.microsoft.com/office/drawing/2010/main" val="0"/>
              </a:ext>
            </a:extLst>
          </a:blip>
          <a:srcRect l="8059" r="8059"/>
          <a:stretch>
            <a:fillRect/>
          </a:stretch>
        </p:blipFill>
        <p:spPr/>
      </p:pic>
      <p:sp>
        <p:nvSpPr>
          <p:cNvPr id="11" name="Rectangle 10"/>
          <p:cNvSpPr/>
          <p:nvPr/>
        </p:nvSpPr>
        <p:spPr>
          <a:xfrm>
            <a:off x="402590" y="4824730"/>
            <a:ext cx="6567805" cy="1568450"/>
          </a:xfrm>
          <a:prstGeom prst="rect">
            <a:avLst/>
          </a:prstGeom>
        </p:spPr>
        <p:txBody>
          <a:bodyPr wrap="square">
            <a:spAutoFit/>
          </a:bodyPr>
          <a:lstStyle/>
          <a:p>
            <a:pPr>
              <a:lnSpc>
                <a:spcPct val="120000"/>
              </a:lnSpc>
            </a:pPr>
            <a:r>
              <a:rPr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由于</a:t>
            </a:r>
            <a:r>
              <a:rPr lang="zh-CN"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不具备</a:t>
            </a:r>
            <a:r>
              <a:rPr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专业的绘画技术</a:t>
            </a:r>
            <a:r>
              <a:rPr lang="zh-CN"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和设计能力，我们的游戏在这方面存在劣势，</a:t>
            </a:r>
            <a:r>
              <a:rPr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但是我们将</a:t>
            </a:r>
            <a:r>
              <a:rPr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这款游戏</a:t>
            </a:r>
            <a:r>
              <a:rPr lang="zh-CN"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的</a:t>
            </a:r>
            <a:r>
              <a:rPr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UI脚本与游戏动画化效果分开</a:t>
            </a:r>
            <a:r>
              <a:rPr lang="zh-CN" sz="2000" dirty="0">
                <a:solidFill>
                  <a:schemeClr val="tx1">
                    <a:lumMod val="65000"/>
                    <a:lumOff val="35000"/>
                  </a:schemeClr>
                </a:solidFill>
                <a:latin typeface="站酷快乐体" panose="02010600030101010101" charset="-128"/>
                <a:ea typeface="宋体" panose="02010600030101010101" pitchFamily="2" charset="-122"/>
                <a:cs typeface="站酷快乐体" panose="02010600030101010101" charset="-128"/>
                <a:sym typeface="+mn-lt"/>
              </a:rPr>
              <a:t>，</a:t>
            </a:r>
            <a:r>
              <a:rPr lang="zh-CN"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先使用当前</a:t>
            </a:r>
            <a:r>
              <a:rPr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素材，如果后续需要更新或美化，我们</a:t>
            </a:r>
            <a:r>
              <a:rPr lang="zh-CN"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会</a:t>
            </a:r>
            <a:r>
              <a:rPr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寻找专业ui进行设计，</a:t>
            </a:r>
            <a:r>
              <a:rPr lang="zh-CN"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对游戏进行美化更新</a:t>
            </a:r>
            <a:r>
              <a:rPr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a:t>
            </a:r>
            <a:r>
              <a:rPr lang="id-ID"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rPr>
              <a:t> </a:t>
            </a:r>
            <a:endParaRPr lang="id-ID" sz="2000" dirty="0">
              <a:solidFill>
                <a:schemeClr val="tx1">
                  <a:lumMod val="65000"/>
                  <a:lumOff val="35000"/>
                </a:schemeClr>
              </a:solidFill>
              <a:latin typeface="站酷快乐体" panose="02010600030101010101" charset="-128"/>
              <a:ea typeface="站酷快乐体" panose="02010600030101010101" charset="-128"/>
              <a:cs typeface="站酷快乐体" panose="02010600030101010101" charset="-128"/>
              <a:sym typeface="+mn-lt"/>
            </a:endParaRPr>
          </a:p>
        </p:txBody>
      </p:sp>
      <p:sp>
        <p:nvSpPr>
          <p:cNvPr id="17" name="Diamond 16"/>
          <p:cNvSpPr/>
          <p:nvPr/>
        </p:nvSpPr>
        <p:spPr>
          <a:xfrm>
            <a:off x="2130395" y="1489704"/>
            <a:ext cx="2743560" cy="274356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9" name="Rectangle 8"/>
          <p:cNvSpPr/>
          <p:nvPr/>
        </p:nvSpPr>
        <p:spPr>
          <a:xfrm>
            <a:off x="2591435" y="2567305"/>
            <a:ext cx="1821180" cy="589280"/>
          </a:xfrm>
          <a:prstGeom prst="rect">
            <a:avLst/>
          </a:prstGeom>
        </p:spPr>
        <p:txBody>
          <a:bodyPr wrap="square">
            <a:spAutoFit/>
          </a:bodyPr>
          <a:lstStyle/>
          <a:p>
            <a:pPr algn="ctr">
              <a:lnSpc>
                <a:spcPct val="90000"/>
              </a:lnSpc>
            </a:pPr>
            <a:r>
              <a:rPr lang="en-US" sz="3600" spc="100" dirty="0">
                <a:solidFill>
                  <a:schemeClr val="bg1"/>
                </a:solidFill>
                <a:uFillTx/>
                <a:latin typeface="站酷快乐体" panose="02010600030101010101" charset="-128"/>
                <a:ea typeface="站酷快乐体" panose="02010600030101010101" charset="-128"/>
                <a:cs typeface="+mn-ea"/>
                <a:sym typeface="+mn-lt"/>
              </a:rPr>
              <a:t>UI</a:t>
            </a:r>
            <a:r>
              <a:rPr lang="zh-CN" altLang="en-US" sz="3600" spc="-150" dirty="0">
                <a:solidFill>
                  <a:schemeClr val="bg1"/>
                </a:solidFill>
                <a:latin typeface="汉仪粗圆简" panose="02010600000101010101" charset="-122"/>
                <a:ea typeface="汉仪粗圆简" panose="02010600000101010101" charset="-122"/>
                <a:cs typeface="+mn-ea"/>
                <a:sym typeface="+mn-lt"/>
              </a:rPr>
              <a:t>问题</a:t>
            </a:r>
            <a:endParaRPr lang="zh-CN" altLang="en-US" sz="3600" spc="-150" dirty="0">
              <a:solidFill>
                <a:schemeClr val="bg1"/>
              </a:solidFill>
              <a:latin typeface="汉仪粗圆简" panose="02010600000101010101" charset="-122"/>
              <a:ea typeface="汉仪粗圆简" panose="02010600000101010101" charset="-122"/>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矩形 147"/>
          <p:cNvSpPr/>
          <p:nvPr/>
        </p:nvSpPr>
        <p:spPr>
          <a:xfrm rot="18900000">
            <a:off x="4407860" y="1165882"/>
            <a:ext cx="3355261" cy="33255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6" name="Freeform 38"/>
          <p:cNvSpPr/>
          <p:nvPr/>
        </p:nvSpPr>
        <p:spPr bwMode="auto">
          <a:xfrm rot="8289320" flipH="1" flipV="1">
            <a:off x="-1207776" y="1588005"/>
            <a:ext cx="2330512" cy="2681887"/>
          </a:xfrm>
          <a:custGeom>
            <a:avLst/>
            <a:gdLst>
              <a:gd name="T0" fmla="*/ 325 w 325"/>
              <a:gd name="T1" fmla="*/ 0 h 374"/>
              <a:gd name="T2" fmla="*/ 325 w 325"/>
              <a:gd name="T3" fmla="*/ 374 h 374"/>
              <a:gd name="T4" fmla="*/ 0 w 325"/>
              <a:gd name="T5" fmla="*/ 187 h 374"/>
              <a:gd name="T6" fmla="*/ 0 w 325"/>
              <a:gd name="T7" fmla="*/ 187 h 374"/>
              <a:gd name="T8" fmla="*/ 325 w 325"/>
              <a:gd name="T9" fmla="*/ 0 h 374"/>
            </a:gdLst>
            <a:ahLst/>
            <a:cxnLst>
              <a:cxn ang="0">
                <a:pos x="T0" y="T1"/>
              </a:cxn>
              <a:cxn ang="0">
                <a:pos x="T2" y="T3"/>
              </a:cxn>
              <a:cxn ang="0">
                <a:pos x="T4" y="T5"/>
              </a:cxn>
              <a:cxn ang="0">
                <a:pos x="T6" y="T7"/>
              </a:cxn>
              <a:cxn ang="0">
                <a:pos x="T8" y="T9"/>
              </a:cxn>
            </a:cxnLst>
            <a:rect l="0" t="0" r="r" b="b"/>
            <a:pathLst>
              <a:path w="325" h="374">
                <a:moveTo>
                  <a:pt x="325" y="0"/>
                </a:moveTo>
                <a:lnTo>
                  <a:pt x="325" y="374"/>
                </a:lnTo>
                <a:lnTo>
                  <a:pt x="0" y="187"/>
                </a:lnTo>
                <a:lnTo>
                  <a:pt x="0" y="187"/>
                </a:lnTo>
                <a:lnTo>
                  <a:pt x="325" y="0"/>
                </a:lnTo>
                <a:close/>
              </a:path>
            </a:pathLst>
          </a:custGeom>
          <a:solidFill>
            <a:schemeClr val="accent4"/>
          </a:solidFill>
          <a:ln>
            <a:noFill/>
          </a:ln>
        </p:spPr>
        <p:txBody>
          <a:bodyPr vert="horz" wrap="square" lIns="91440" tIns="45720" rIns="91440" bIns="45720" numCol="1" anchor="t" anchorCtr="0" compatLnSpc="1"/>
          <a:lstStyle/>
          <a:p>
            <a:endParaRPr lang="zh-CN" altLang="en-US"/>
          </a:p>
        </p:txBody>
      </p:sp>
      <p:sp>
        <p:nvSpPr>
          <p:cNvPr id="137" name="Freeform 39"/>
          <p:cNvSpPr/>
          <p:nvPr/>
        </p:nvSpPr>
        <p:spPr bwMode="auto">
          <a:xfrm rot="8289320" flipH="1" flipV="1">
            <a:off x="-315605" y="2587864"/>
            <a:ext cx="2330512" cy="2674718"/>
          </a:xfrm>
          <a:custGeom>
            <a:avLst/>
            <a:gdLst>
              <a:gd name="T0" fmla="*/ 325 w 325"/>
              <a:gd name="T1" fmla="*/ 187 h 373"/>
              <a:gd name="T2" fmla="*/ 325 w 325"/>
              <a:gd name="T3" fmla="*/ 187 h 373"/>
              <a:gd name="T4" fmla="*/ 2 w 325"/>
              <a:gd name="T5" fmla="*/ 373 h 373"/>
              <a:gd name="T6" fmla="*/ 0 w 325"/>
              <a:gd name="T7" fmla="*/ 373 h 373"/>
              <a:gd name="T8" fmla="*/ 0 w 325"/>
              <a:gd name="T9" fmla="*/ 0 h 373"/>
              <a:gd name="T10" fmla="*/ 325 w 325"/>
              <a:gd name="T11" fmla="*/ 187 h 373"/>
            </a:gdLst>
            <a:ahLst/>
            <a:cxnLst>
              <a:cxn ang="0">
                <a:pos x="T0" y="T1"/>
              </a:cxn>
              <a:cxn ang="0">
                <a:pos x="T2" y="T3"/>
              </a:cxn>
              <a:cxn ang="0">
                <a:pos x="T4" y="T5"/>
              </a:cxn>
              <a:cxn ang="0">
                <a:pos x="T6" y="T7"/>
              </a:cxn>
              <a:cxn ang="0">
                <a:pos x="T8" y="T9"/>
              </a:cxn>
              <a:cxn ang="0">
                <a:pos x="T10" y="T11"/>
              </a:cxn>
            </a:cxnLst>
            <a:rect l="0" t="0" r="r" b="b"/>
            <a:pathLst>
              <a:path w="325" h="373">
                <a:moveTo>
                  <a:pt x="325" y="187"/>
                </a:moveTo>
                <a:lnTo>
                  <a:pt x="325" y="187"/>
                </a:lnTo>
                <a:lnTo>
                  <a:pt x="2" y="373"/>
                </a:lnTo>
                <a:lnTo>
                  <a:pt x="0" y="373"/>
                </a:lnTo>
                <a:lnTo>
                  <a:pt x="0" y="0"/>
                </a:lnTo>
                <a:lnTo>
                  <a:pt x="325" y="187"/>
                </a:lnTo>
                <a:close/>
              </a:path>
            </a:pathLst>
          </a:custGeom>
          <a:blipFill>
            <a:blip r:embed="rId1"/>
            <a:stretch>
              <a:fillRect/>
            </a:stretch>
          </a:blipFill>
          <a:ln>
            <a:noFill/>
          </a:ln>
        </p:spPr>
        <p:txBody>
          <a:bodyPr vert="horz" wrap="square" lIns="91440" tIns="45720" rIns="91440" bIns="45720" numCol="1" anchor="t" anchorCtr="0" compatLnSpc="1"/>
          <a:lstStyle/>
          <a:p>
            <a:endParaRPr lang="zh-CN" altLang="en-US"/>
          </a:p>
        </p:txBody>
      </p:sp>
      <p:sp>
        <p:nvSpPr>
          <p:cNvPr id="138" name="Freeform 40"/>
          <p:cNvSpPr/>
          <p:nvPr/>
        </p:nvSpPr>
        <p:spPr bwMode="auto">
          <a:xfrm rot="8289320" flipH="1" flipV="1">
            <a:off x="586682" y="3583851"/>
            <a:ext cx="2316171" cy="2660374"/>
          </a:xfrm>
          <a:custGeom>
            <a:avLst/>
            <a:gdLst>
              <a:gd name="T0" fmla="*/ 323 w 323"/>
              <a:gd name="T1" fmla="*/ 0 h 371"/>
              <a:gd name="T2" fmla="*/ 323 w 323"/>
              <a:gd name="T3" fmla="*/ 371 h 371"/>
              <a:gd name="T4" fmla="*/ 0 w 323"/>
              <a:gd name="T5" fmla="*/ 186 h 371"/>
              <a:gd name="T6" fmla="*/ 323 w 323"/>
              <a:gd name="T7" fmla="*/ 0 h 371"/>
            </a:gdLst>
            <a:ahLst/>
            <a:cxnLst>
              <a:cxn ang="0">
                <a:pos x="T0" y="T1"/>
              </a:cxn>
              <a:cxn ang="0">
                <a:pos x="T2" y="T3"/>
              </a:cxn>
              <a:cxn ang="0">
                <a:pos x="T4" y="T5"/>
              </a:cxn>
              <a:cxn ang="0">
                <a:pos x="T6" y="T7"/>
              </a:cxn>
            </a:cxnLst>
            <a:rect l="0" t="0" r="r" b="b"/>
            <a:pathLst>
              <a:path w="323" h="371">
                <a:moveTo>
                  <a:pt x="323" y="0"/>
                </a:moveTo>
                <a:lnTo>
                  <a:pt x="323" y="371"/>
                </a:lnTo>
                <a:lnTo>
                  <a:pt x="0" y="186"/>
                </a:lnTo>
                <a:lnTo>
                  <a:pt x="323" y="0"/>
                </a:lnTo>
                <a:close/>
              </a:path>
            </a:pathLst>
          </a:custGeom>
          <a:solidFill>
            <a:schemeClr val="accent1">
              <a:lumMod val="60000"/>
              <a:lumOff val="40000"/>
            </a:schemeClr>
          </a:solidFill>
          <a:ln>
            <a:noFill/>
          </a:ln>
        </p:spPr>
        <p:txBody>
          <a:bodyPr vert="horz" wrap="square" lIns="91440" tIns="45720" rIns="91440" bIns="45720" numCol="1" anchor="t" anchorCtr="0" compatLnSpc="1"/>
          <a:lstStyle/>
          <a:p>
            <a:endParaRPr lang="zh-CN" altLang="en-US"/>
          </a:p>
        </p:txBody>
      </p:sp>
      <p:sp>
        <p:nvSpPr>
          <p:cNvPr id="139" name="Freeform 44"/>
          <p:cNvSpPr/>
          <p:nvPr/>
        </p:nvSpPr>
        <p:spPr bwMode="auto">
          <a:xfrm rot="8289320" flipH="1" flipV="1">
            <a:off x="-2032965" y="4135405"/>
            <a:ext cx="2308999" cy="2674718"/>
          </a:xfrm>
          <a:custGeom>
            <a:avLst/>
            <a:gdLst>
              <a:gd name="T0" fmla="*/ 322 w 322"/>
              <a:gd name="T1" fmla="*/ 0 h 373"/>
              <a:gd name="T2" fmla="*/ 322 w 322"/>
              <a:gd name="T3" fmla="*/ 373 h 373"/>
              <a:gd name="T4" fmla="*/ 322 w 322"/>
              <a:gd name="T5" fmla="*/ 373 h 373"/>
              <a:gd name="T6" fmla="*/ 0 w 322"/>
              <a:gd name="T7" fmla="*/ 187 h 373"/>
              <a:gd name="T8" fmla="*/ 322 w 322"/>
              <a:gd name="T9" fmla="*/ 0 h 373"/>
            </a:gdLst>
            <a:ahLst/>
            <a:cxnLst>
              <a:cxn ang="0">
                <a:pos x="T0" y="T1"/>
              </a:cxn>
              <a:cxn ang="0">
                <a:pos x="T2" y="T3"/>
              </a:cxn>
              <a:cxn ang="0">
                <a:pos x="T4" y="T5"/>
              </a:cxn>
              <a:cxn ang="0">
                <a:pos x="T6" y="T7"/>
              </a:cxn>
              <a:cxn ang="0">
                <a:pos x="T8" y="T9"/>
              </a:cxn>
            </a:cxnLst>
            <a:rect l="0" t="0" r="r" b="b"/>
            <a:pathLst>
              <a:path w="322" h="373">
                <a:moveTo>
                  <a:pt x="322" y="0"/>
                </a:moveTo>
                <a:lnTo>
                  <a:pt x="322" y="373"/>
                </a:lnTo>
                <a:lnTo>
                  <a:pt x="322" y="373"/>
                </a:lnTo>
                <a:lnTo>
                  <a:pt x="0" y="187"/>
                </a:lnTo>
                <a:lnTo>
                  <a:pt x="322" y="0"/>
                </a:lnTo>
                <a:close/>
              </a:path>
            </a:pathLst>
          </a:custGeom>
          <a:solidFill>
            <a:schemeClr val="accent4"/>
          </a:solidFill>
          <a:ln>
            <a:noFill/>
          </a:ln>
        </p:spPr>
        <p:txBody>
          <a:bodyPr vert="horz" wrap="square" lIns="91440" tIns="45720" rIns="91440" bIns="45720" numCol="1" anchor="t" anchorCtr="0" compatLnSpc="1"/>
          <a:lstStyle/>
          <a:p>
            <a:endParaRPr lang="zh-CN" altLang="en-US"/>
          </a:p>
        </p:txBody>
      </p:sp>
      <p:sp>
        <p:nvSpPr>
          <p:cNvPr id="141" name="Freeform 48"/>
          <p:cNvSpPr/>
          <p:nvPr/>
        </p:nvSpPr>
        <p:spPr bwMode="auto">
          <a:xfrm rot="10013244" flipH="1" flipV="1">
            <a:off x="8578778" y="2938361"/>
            <a:ext cx="2029332" cy="2349756"/>
          </a:xfrm>
          <a:custGeom>
            <a:avLst/>
            <a:gdLst>
              <a:gd name="T0" fmla="*/ 323 w 323"/>
              <a:gd name="T1" fmla="*/ 0 h 374"/>
              <a:gd name="T2" fmla="*/ 323 w 323"/>
              <a:gd name="T3" fmla="*/ 374 h 374"/>
              <a:gd name="T4" fmla="*/ 0 w 323"/>
              <a:gd name="T5" fmla="*/ 187 h 374"/>
              <a:gd name="T6" fmla="*/ 0 w 323"/>
              <a:gd name="T7" fmla="*/ 187 h 374"/>
              <a:gd name="T8" fmla="*/ 323 w 323"/>
              <a:gd name="T9" fmla="*/ 0 h 374"/>
            </a:gdLst>
            <a:ahLst/>
            <a:cxnLst>
              <a:cxn ang="0">
                <a:pos x="T0" y="T1"/>
              </a:cxn>
              <a:cxn ang="0">
                <a:pos x="T2" y="T3"/>
              </a:cxn>
              <a:cxn ang="0">
                <a:pos x="T4" y="T5"/>
              </a:cxn>
              <a:cxn ang="0">
                <a:pos x="T6" y="T7"/>
              </a:cxn>
              <a:cxn ang="0">
                <a:pos x="T8" y="T9"/>
              </a:cxn>
            </a:cxnLst>
            <a:rect l="0" t="0" r="r" b="b"/>
            <a:pathLst>
              <a:path w="323" h="374">
                <a:moveTo>
                  <a:pt x="323" y="0"/>
                </a:moveTo>
                <a:lnTo>
                  <a:pt x="323" y="374"/>
                </a:lnTo>
                <a:lnTo>
                  <a:pt x="0" y="187"/>
                </a:lnTo>
                <a:lnTo>
                  <a:pt x="0" y="187"/>
                </a:lnTo>
                <a:lnTo>
                  <a:pt x="323" y="0"/>
                </a:lnTo>
                <a:close/>
              </a:path>
            </a:pathLst>
          </a:custGeom>
          <a:solidFill>
            <a:schemeClr val="accent1"/>
          </a:solidFill>
          <a:ln w="9525">
            <a:noFill/>
            <a:round/>
          </a:ln>
        </p:spPr>
        <p:txBody>
          <a:bodyPr vert="horz" wrap="square" lIns="91440" tIns="45720" rIns="91440" bIns="45720" numCol="1" anchor="t" anchorCtr="0" compatLnSpc="1"/>
          <a:lstStyle/>
          <a:p>
            <a:endParaRPr lang="zh-CN" altLang="en-US"/>
          </a:p>
        </p:txBody>
      </p:sp>
      <p:sp>
        <p:nvSpPr>
          <p:cNvPr id="142" name="Freeform 49"/>
          <p:cNvSpPr/>
          <p:nvPr/>
        </p:nvSpPr>
        <p:spPr bwMode="auto">
          <a:xfrm rot="10013244" flipH="1" flipV="1">
            <a:off x="11086686" y="4765200"/>
            <a:ext cx="2041897" cy="2337188"/>
          </a:xfrm>
          <a:custGeom>
            <a:avLst/>
            <a:gdLst>
              <a:gd name="T0" fmla="*/ 325 w 325"/>
              <a:gd name="T1" fmla="*/ 185 h 372"/>
              <a:gd name="T2" fmla="*/ 0 w 325"/>
              <a:gd name="T3" fmla="*/ 372 h 372"/>
              <a:gd name="T4" fmla="*/ 0 w 325"/>
              <a:gd name="T5" fmla="*/ 0 h 372"/>
              <a:gd name="T6" fmla="*/ 2 w 325"/>
              <a:gd name="T7" fmla="*/ 0 h 372"/>
              <a:gd name="T8" fmla="*/ 325 w 325"/>
              <a:gd name="T9" fmla="*/ 185 h 372"/>
            </a:gdLst>
            <a:ahLst/>
            <a:cxnLst>
              <a:cxn ang="0">
                <a:pos x="T0" y="T1"/>
              </a:cxn>
              <a:cxn ang="0">
                <a:pos x="T2" y="T3"/>
              </a:cxn>
              <a:cxn ang="0">
                <a:pos x="T4" y="T5"/>
              </a:cxn>
              <a:cxn ang="0">
                <a:pos x="T6" y="T7"/>
              </a:cxn>
              <a:cxn ang="0">
                <a:pos x="T8" y="T9"/>
              </a:cxn>
            </a:cxnLst>
            <a:rect l="0" t="0" r="r" b="b"/>
            <a:pathLst>
              <a:path w="325" h="372">
                <a:moveTo>
                  <a:pt x="325" y="185"/>
                </a:moveTo>
                <a:lnTo>
                  <a:pt x="0" y="372"/>
                </a:lnTo>
                <a:lnTo>
                  <a:pt x="0" y="0"/>
                </a:lnTo>
                <a:lnTo>
                  <a:pt x="2" y="0"/>
                </a:lnTo>
                <a:lnTo>
                  <a:pt x="325" y="185"/>
                </a:lnTo>
                <a:close/>
              </a:path>
            </a:pathLst>
          </a:custGeom>
          <a:solidFill>
            <a:schemeClr val="accent2"/>
          </a:solidFill>
          <a:ln>
            <a:noFill/>
          </a:ln>
        </p:spPr>
        <p:txBody>
          <a:bodyPr vert="horz" wrap="square" lIns="91440" tIns="45720" rIns="91440" bIns="45720" numCol="1" anchor="t" anchorCtr="0" compatLnSpc="1"/>
          <a:lstStyle/>
          <a:p>
            <a:endParaRPr lang="zh-CN" altLang="en-US"/>
          </a:p>
        </p:txBody>
      </p:sp>
      <p:sp>
        <p:nvSpPr>
          <p:cNvPr id="143" name="Freeform 53"/>
          <p:cNvSpPr/>
          <p:nvPr/>
        </p:nvSpPr>
        <p:spPr bwMode="auto">
          <a:xfrm rot="10013244" flipH="1" flipV="1">
            <a:off x="10555034" y="2476551"/>
            <a:ext cx="2041897" cy="2349756"/>
          </a:xfrm>
          <a:custGeom>
            <a:avLst/>
            <a:gdLst>
              <a:gd name="T0" fmla="*/ 325 w 325"/>
              <a:gd name="T1" fmla="*/ 187 h 374"/>
              <a:gd name="T2" fmla="*/ 325 w 325"/>
              <a:gd name="T3" fmla="*/ 187 h 374"/>
              <a:gd name="T4" fmla="*/ 2 w 325"/>
              <a:gd name="T5" fmla="*/ 374 h 374"/>
              <a:gd name="T6" fmla="*/ 0 w 325"/>
              <a:gd name="T7" fmla="*/ 374 h 374"/>
              <a:gd name="T8" fmla="*/ 0 w 325"/>
              <a:gd name="T9" fmla="*/ 0 h 374"/>
              <a:gd name="T10" fmla="*/ 325 w 325"/>
              <a:gd name="T11" fmla="*/ 187 h 374"/>
            </a:gdLst>
            <a:ahLst/>
            <a:cxnLst>
              <a:cxn ang="0">
                <a:pos x="T0" y="T1"/>
              </a:cxn>
              <a:cxn ang="0">
                <a:pos x="T2" y="T3"/>
              </a:cxn>
              <a:cxn ang="0">
                <a:pos x="T4" y="T5"/>
              </a:cxn>
              <a:cxn ang="0">
                <a:pos x="T6" y="T7"/>
              </a:cxn>
              <a:cxn ang="0">
                <a:pos x="T8" y="T9"/>
              </a:cxn>
              <a:cxn ang="0">
                <a:pos x="T10" y="T11"/>
              </a:cxn>
            </a:cxnLst>
            <a:rect l="0" t="0" r="r" b="b"/>
            <a:pathLst>
              <a:path w="325" h="374">
                <a:moveTo>
                  <a:pt x="325" y="187"/>
                </a:moveTo>
                <a:lnTo>
                  <a:pt x="325" y="187"/>
                </a:lnTo>
                <a:lnTo>
                  <a:pt x="2" y="374"/>
                </a:lnTo>
                <a:lnTo>
                  <a:pt x="0" y="374"/>
                </a:lnTo>
                <a:lnTo>
                  <a:pt x="0" y="0"/>
                </a:lnTo>
                <a:lnTo>
                  <a:pt x="325" y="187"/>
                </a:lnTo>
                <a:close/>
              </a:path>
            </a:pathLst>
          </a:custGeom>
          <a:blipFill>
            <a:blip r:embed="rId2"/>
            <a:stretch>
              <a:fillRect/>
            </a:stretch>
          </a:blipFill>
          <a:ln>
            <a:noFill/>
          </a:ln>
        </p:spPr>
        <p:txBody>
          <a:bodyPr vert="horz" wrap="square" lIns="91440" tIns="45720" rIns="91440" bIns="45720" numCol="1" anchor="t" anchorCtr="0" compatLnSpc="1"/>
          <a:lstStyle/>
          <a:p>
            <a:endParaRPr lang="zh-CN" altLang="en-US"/>
          </a:p>
        </p:txBody>
      </p:sp>
      <p:sp>
        <p:nvSpPr>
          <p:cNvPr id="144" name="Freeform 27"/>
          <p:cNvSpPr/>
          <p:nvPr/>
        </p:nvSpPr>
        <p:spPr bwMode="auto">
          <a:xfrm rot="10013244" flipH="1" flipV="1">
            <a:off x="9827109" y="5187691"/>
            <a:ext cx="1183657" cy="1367456"/>
          </a:xfrm>
          <a:custGeom>
            <a:avLst/>
            <a:gdLst>
              <a:gd name="T0" fmla="*/ 322 w 322"/>
              <a:gd name="T1" fmla="*/ 0 h 372"/>
              <a:gd name="T2" fmla="*/ 322 w 322"/>
              <a:gd name="T3" fmla="*/ 372 h 372"/>
              <a:gd name="T4" fmla="*/ 0 w 322"/>
              <a:gd name="T5" fmla="*/ 185 h 372"/>
              <a:gd name="T6" fmla="*/ 322 w 322"/>
              <a:gd name="T7" fmla="*/ 0 h 372"/>
            </a:gdLst>
            <a:ahLst/>
            <a:cxnLst>
              <a:cxn ang="0">
                <a:pos x="T0" y="T1"/>
              </a:cxn>
              <a:cxn ang="0">
                <a:pos x="T2" y="T3"/>
              </a:cxn>
              <a:cxn ang="0">
                <a:pos x="T4" y="T5"/>
              </a:cxn>
              <a:cxn ang="0">
                <a:pos x="T6" y="T7"/>
              </a:cxn>
            </a:cxnLst>
            <a:rect l="0" t="0" r="r" b="b"/>
            <a:pathLst>
              <a:path w="322" h="372">
                <a:moveTo>
                  <a:pt x="322" y="0"/>
                </a:moveTo>
                <a:lnTo>
                  <a:pt x="322" y="372"/>
                </a:lnTo>
                <a:lnTo>
                  <a:pt x="0" y="185"/>
                </a:lnTo>
                <a:lnTo>
                  <a:pt x="322" y="0"/>
                </a:lnTo>
                <a:close/>
              </a:path>
            </a:pathLst>
          </a:custGeom>
          <a:solidFill>
            <a:schemeClr val="accent1"/>
          </a:solidFill>
          <a:ln>
            <a:noFill/>
          </a:ln>
        </p:spPr>
        <p:txBody>
          <a:bodyPr vert="horz" wrap="square" lIns="91440" tIns="45720" rIns="91440" bIns="45720" numCol="1" anchor="t" anchorCtr="0" compatLnSpc="1"/>
          <a:lstStyle/>
          <a:p>
            <a:endParaRPr lang="zh-CN" altLang="en-US"/>
          </a:p>
        </p:txBody>
      </p:sp>
      <p:grpSp>
        <p:nvGrpSpPr>
          <p:cNvPr id="5" name="组合 4"/>
          <p:cNvGrpSpPr/>
          <p:nvPr/>
        </p:nvGrpSpPr>
        <p:grpSpPr>
          <a:xfrm>
            <a:off x="4004152" y="167325"/>
            <a:ext cx="4188764" cy="5332442"/>
            <a:chOff x="5013830" y="1619293"/>
            <a:chExt cx="3467100" cy="4413739"/>
          </a:xfrm>
        </p:grpSpPr>
        <p:sp>
          <p:nvSpPr>
            <p:cNvPr id="23" name="矩形 22"/>
            <p:cNvSpPr/>
            <p:nvPr/>
          </p:nvSpPr>
          <p:spPr>
            <a:xfrm rot="18900000" flipV="1">
              <a:off x="5013830" y="1619293"/>
              <a:ext cx="3467100" cy="346710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4" name="矩形 22"/>
            <p:cNvSpPr/>
            <p:nvPr/>
          </p:nvSpPr>
          <p:spPr>
            <a:xfrm rot="2700000">
              <a:off x="5013830" y="2565932"/>
              <a:ext cx="3467100" cy="346710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grpSp>
        <p:nvGrpSpPr>
          <p:cNvPr id="35" name="组合 34"/>
          <p:cNvGrpSpPr/>
          <p:nvPr/>
        </p:nvGrpSpPr>
        <p:grpSpPr>
          <a:xfrm>
            <a:off x="4682073" y="1030342"/>
            <a:ext cx="2832922" cy="3606408"/>
            <a:chOff x="5013830" y="1619293"/>
            <a:chExt cx="3467100" cy="4413739"/>
          </a:xfrm>
        </p:grpSpPr>
        <p:sp>
          <p:nvSpPr>
            <p:cNvPr id="36" name="矩形 22"/>
            <p:cNvSpPr/>
            <p:nvPr/>
          </p:nvSpPr>
          <p:spPr>
            <a:xfrm rot="18900000" flipV="1">
              <a:off x="5013830" y="1619293"/>
              <a:ext cx="3467100" cy="346710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7" name="矩形 22"/>
            <p:cNvSpPr/>
            <p:nvPr/>
          </p:nvSpPr>
          <p:spPr>
            <a:xfrm rot="2700000">
              <a:off x="5013830" y="2565932"/>
              <a:ext cx="3467100" cy="346710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sp>
        <p:nvSpPr>
          <p:cNvPr id="6" name="矩形 5"/>
          <p:cNvSpPr/>
          <p:nvPr/>
        </p:nvSpPr>
        <p:spPr>
          <a:xfrm rot="2700000">
            <a:off x="2758183" y="2595352"/>
            <a:ext cx="549163" cy="549163"/>
          </a:xfrm>
          <a:prstGeom prst="rect">
            <a:avLst/>
          </a:prstGeom>
          <a:solidFill>
            <a:schemeClr val="tx1">
              <a:lumMod val="75000"/>
              <a:lumOff val="2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8" name="矩形 37"/>
          <p:cNvSpPr/>
          <p:nvPr/>
        </p:nvSpPr>
        <p:spPr>
          <a:xfrm rot="2700000">
            <a:off x="8860308" y="2595353"/>
            <a:ext cx="549163" cy="549163"/>
          </a:xfrm>
          <a:prstGeom prst="rect">
            <a:avLst/>
          </a:prstGeom>
          <a:solidFill>
            <a:schemeClr val="tx1">
              <a:lumMod val="75000"/>
              <a:lumOff val="2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49" name="矩形 148"/>
          <p:cNvSpPr/>
          <p:nvPr/>
        </p:nvSpPr>
        <p:spPr>
          <a:xfrm>
            <a:off x="4277360" y="5947108"/>
            <a:ext cx="3637280" cy="337185"/>
          </a:xfrm>
          <a:prstGeom prst="rect">
            <a:avLst/>
          </a:prstGeom>
        </p:spPr>
        <p:txBody>
          <a:bodyPr wrap="none">
            <a:spAutoFit/>
          </a:bodyPr>
          <a:lstStyle/>
          <a:p>
            <a:pPr algn="ctr"/>
            <a:r>
              <a:rPr lang="zh-CN" altLang="en-US"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汇报时间：</a:t>
            </a:r>
            <a:r>
              <a:rPr lang="en-US" altLang="zh-CN"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2021</a:t>
            </a:r>
            <a:r>
              <a:rPr lang="zh-CN" altLang="en-US"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年</a:t>
            </a:r>
            <a:r>
              <a:rPr lang="en-US" altLang="zh-CN"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4</a:t>
            </a:r>
            <a:r>
              <a:rPr lang="zh-CN" altLang="en-US"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rPr>
              <a:t>月   汇报人：冯浩</a:t>
            </a:r>
            <a:endParaRPr lang="zh-CN" altLang="en-US" sz="1600" dirty="0">
              <a:solidFill>
                <a:schemeClr val="tx1">
                  <a:lumMod val="75000"/>
                  <a:lumOff val="25000"/>
                </a:schemeClr>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52" name="矩形 151"/>
          <p:cNvSpPr/>
          <p:nvPr/>
        </p:nvSpPr>
        <p:spPr>
          <a:xfrm>
            <a:off x="2954937" y="2374808"/>
            <a:ext cx="6289318" cy="1107996"/>
          </a:xfrm>
          <a:prstGeom prst="rect">
            <a:avLst/>
          </a:prstGeom>
          <a:noFill/>
        </p:spPr>
        <p:txBody>
          <a:bodyPr wrap="square">
            <a:spAutoFit/>
          </a:bodyPr>
          <a:lstStyle/>
          <a:p>
            <a:pPr algn="ctr" defTabSz="914400">
              <a:spcBef>
                <a:spcPct val="0"/>
              </a:spcBef>
            </a:pPr>
            <a:r>
              <a:rPr lang="zh-CN" altLang="en-US" sz="6600" spc="-150" dirty="0">
                <a:gradFill>
                  <a:gsLst>
                    <a:gs pos="1770">
                      <a:schemeClr val="tx1">
                        <a:lumMod val="65000"/>
                        <a:lumOff val="35000"/>
                      </a:schemeClr>
                    </a:gs>
                    <a:gs pos="20000">
                      <a:schemeClr val="tx1">
                        <a:lumMod val="65000"/>
                        <a:lumOff val="35000"/>
                      </a:schemeClr>
                    </a:gs>
                    <a:gs pos="100000">
                      <a:schemeClr val="tx1">
                        <a:lumMod val="95000"/>
                        <a:lumOff val="5000"/>
                      </a:schemeClr>
                    </a:gs>
                  </a:gsLst>
                  <a:lin ang="2700000" scaled="1"/>
                </a:gradFill>
                <a:effectLst/>
                <a:latin typeface="思源黑体 CN Heavy" panose="020B0A00000000000000" pitchFamily="34" charset="-122"/>
                <a:ea typeface="思源黑体 CN Heavy" panose="020B0A00000000000000" pitchFamily="34" charset="-122"/>
                <a:cs typeface="+mj-cs"/>
              </a:rPr>
              <a:t>谢谢聆听</a:t>
            </a:r>
            <a:endParaRPr lang="zh-CN" altLang="en-US" sz="6600" spc="-150" dirty="0">
              <a:gradFill>
                <a:gsLst>
                  <a:gs pos="1770">
                    <a:schemeClr val="tx1">
                      <a:lumMod val="65000"/>
                      <a:lumOff val="35000"/>
                    </a:schemeClr>
                  </a:gs>
                  <a:gs pos="20000">
                    <a:schemeClr val="tx1">
                      <a:lumMod val="65000"/>
                      <a:lumOff val="35000"/>
                    </a:schemeClr>
                  </a:gs>
                  <a:gs pos="100000">
                    <a:schemeClr val="tx1">
                      <a:lumMod val="95000"/>
                      <a:lumOff val="5000"/>
                    </a:schemeClr>
                  </a:gs>
                </a:gsLst>
                <a:lin ang="2700000" scaled="1"/>
              </a:gradFill>
              <a:effectLst/>
              <a:latin typeface="思源黑体 CN Heavy" panose="020B0A00000000000000" pitchFamily="34" charset="-122"/>
              <a:ea typeface="思源黑体 CN Heavy" panose="020B0A00000000000000" pitchFamily="34" charset="-122"/>
              <a:cs typeface="+mj-cs"/>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41"/>
                                        </p:tgtEl>
                                        <p:attrNameLst>
                                          <p:attrName>style.visibility</p:attrName>
                                        </p:attrNameLst>
                                      </p:cBhvr>
                                      <p:to>
                                        <p:strVal val="visible"/>
                                      </p:to>
                                    </p:set>
                                    <p:animEffect transition="in" filter="wipe(down)">
                                      <p:cBhvr>
                                        <p:cTn id="7" dur="500"/>
                                        <p:tgtEl>
                                          <p:spTgt spid="141"/>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36"/>
                                        </p:tgtEl>
                                        <p:attrNameLst>
                                          <p:attrName>style.visibility</p:attrName>
                                        </p:attrNameLst>
                                      </p:cBhvr>
                                      <p:to>
                                        <p:strVal val="visible"/>
                                      </p:to>
                                    </p:set>
                                    <p:animEffect transition="in" filter="wipe(down)">
                                      <p:cBhvr>
                                        <p:cTn id="11" dur="500"/>
                                        <p:tgtEl>
                                          <p:spTgt spid="136"/>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137"/>
                                        </p:tgtEl>
                                        <p:attrNameLst>
                                          <p:attrName>style.visibility</p:attrName>
                                        </p:attrNameLst>
                                      </p:cBhvr>
                                      <p:to>
                                        <p:strVal val="visible"/>
                                      </p:to>
                                    </p:set>
                                    <p:animEffect transition="in" filter="wipe(down)">
                                      <p:cBhvr>
                                        <p:cTn id="15" dur="500"/>
                                        <p:tgtEl>
                                          <p:spTgt spid="137"/>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139"/>
                                        </p:tgtEl>
                                        <p:attrNameLst>
                                          <p:attrName>style.visibility</p:attrName>
                                        </p:attrNameLst>
                                      </p:cBhvr>
                                      <p:to>
                                        <p:strVal val="visible"/>
                                      </p:to>
                                    </p:set>
                                    <p:animEffect transition="in" filter="wipe(down)">
                                      <p:cBhvr>
                                        <p:cTn id="19" dur="500"/>
                                        <p:tgtEl>
                                          <p:spTgt spid="139"/>
                                        </p:tgtEl>
                                      </p:cBhvr>
                                    </p:animEffect>
                                  </p:childTnLst>
                                </p:cTn>
                              </p:par>
                            </p:childTnLst>
                          </p:cTn>
                        </p:par>
                        <p:par>
                          <p:cTn id="20" fill="hold">
                            <p:stCondLst>
                              <p:cond delay="2000"/>
                            </p:stCondLst>
                            <p:childTnLst>
                              <p:par>
                                <p:cTn id="21" presetID="42" presetClass="entr" presetSubtype="0" fill="hold" grpId="0" nodeType="afterEffect">
                                  <p:stCondLst>
                                    <p:cond delay="0"/>
                                  </p:stCondLst>
                                  <p:childTnLst>
                                    <p:set>
                                      <p:cBhvr>
                                        <p:cTn id="22" dur="1" fill="hold">
                                          <p:stCondLst>
                                            <p:cond delay="0"/>
                                          </p:stCondLst>
                                        </p:cTn>
                                        <p:tgtEl>
                                          <p:spTgt spid="149"/>
                                        </p:tgtEl>
                                        <p:attrNameLst>
                                          <p:attrName>style.visibility</p:attrName>
                                        </p:attrNameLst>
                                      </p:cBhvr>
                                      <p:to>
                                        <p:strVal val="visible"/>
                                      </p:to>
                                    </p:set>
                                    <p:animEffect transition="in" filter="fade">
                                      <p:cBhvr>
                                        <p:cTn id="23" dur="1000"/>
                                        <p:tgtEl>
                                          <p:spTgt spid="149"/>
                                        </p:tgtEl>
                                      </p:cBhvr>
                                    </p:animEffect>
                                    <p:anim calcmode="lin" valueType="num">
                                      <p:cBhvr>
                                        <p:cTn id="24" dur="1000" fill="hold"/>
                                        <p:tgtEl>
                                          <p:spTgt spid="149"/>
                                        </p:tgtEl>
                                        <p:attrNameLst>
                                          <p:attrName>ppt_x</p:attrName>
                                        </p:attrNameLst>
                                      </p:cBhvr>
                                      <p:tavLst>
                                        <p:tav tm="0">
                                          <p:val>
                                            <p:strVal val="#ppt_x"/>
                                          </p:val>
                                        </p:tav>
                                        <p:tav tm="100000">
                                          <p:val>
                                            <p:strVal val="#ppt_x"/>
                                          </p:val>
                                        </p:tav>
                                      </p:tavLst>
                                    </p:anim>
                                    <p:anim calcmode="lin" valueType="num">
                                      <p:cBhvr>
                                        <p:cTn id="25" dur="1000" fill="hold"/>
                                        <p:tgtEl>
                                          <p:spTgt spid="149"/>
                                        </p:tgtEl>
                                        <p:attrNameLst>
                                          <p:attrName>ppt_y</p:attrName>
                                        </p:attrNameLst>
                                      </p:cBhvr>
                                      <p:tavLst>
                                        <p:tav tm="0">
                                          <p:val>
                                            <p:strVal val="#ppt_y+.1"/>
                                          </p:val>
                                        </p:tav>
                                        <p:tav tm="100000">
                                          <p:val>
                                            <p:strVal val="#ppt_y"/>
                                          </p:val>
                                        </p:tav>
                                      </p:tavLst>
                                    </p:anim>
                                  </p:childTnLst>
                                </p:cTn>
                              </p:par>
                            </p:childTnLst>
                          </p:cTn>
                        </p:par>
                        <p:par>
                          <p:cTn id="26" fill="hold">
                            <p:stCondLst>
                              <p:cond delay="3000"/>
                            </p:stCondLst>
                            <p:childTnLst>
                              <p:par>
                                <p:cTn id="27" presetID="42" presetClass="entr" presetSubtype="0" fill="hold" grpId="0" nodeType="afterEffect">
                                  <p:stCondLst>
                                    <p:cond delay="0"/>
                                  </p:stCondLst>
                                  <p:childTnLst>
                                    <p:set>
                                      <p:cBhvr>
                                        <p:cTn id="28" dur="1" fill="hold">
                                          <p:stCondLst>
                                            <p:cond delay="0"/>
                                          </p:stCondLst>
                                        </p:cTn>
                                        <p:tgtEl>
                                          <p:spTgt spid="152"/>
                                        </p:tgtEl>
                                        <p:attrNameLst>
                                          <p:attrName>style.visibility</p:attrName>
                                        </p:attrNameLst>
                                      </p:cBhvr>
                                      <p:to>
                                        <p:strVal val="visible"/>
                                      </p:to>
                                    </p:set>
                                    <p:animEffect transition="in" filter="fade">
                                      <p:cBhvr>
                                        <p:cTn id="29" dur="1000"/>
                                        <p:tgtEl>
                                          <p:spTgt spid="152"/>
                                        </p:tgtEl>
                                      </p:cBhvr>
                                    </p:animEffect>
                                    <p:anim calcmode="lin" valueType="num">
                                      <p:cBhvr>
                                        <p:cTn id="30" dur="1000" fill="hold"/>
                                        <p:tgtEl>
                                          <p:spTgt spid="152"/>
                                        </p:tgtEl>
                                        <p:attrNameLst>
                                          <p:attrName>ppt_x</p:attrName>
                                        </p:attrNameLst>
                                      </p:cBhvr>
                                      <p:tavLst>
                                        <p:tav tm="0">
                                          <p:val>
                                            <p:strVal val="#ppt_x"/>
                                          </p:val>
                                        </p:tav>
                                        <p:tav tm="100000">
                                          <p:val>
                                            <p:strVal val="#ppt_x"/>
                                          </p:val>
                                        </p:tav>
                                      </p:tavLst>
                                    </p:anim>
                                    <p:anim calcmode="lin" valueType="num">
                                      <p:cBhvr>
                                        <p:cTn id="31" dur="1000" fill="hold"/>
                                        <p:tgtEl>
                                          <p:spTgt spid="15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7" grpId="0" animBg="1"/>
      <p:bldP spid="139" grpId="0" animBg="1"/>
      <p:bldP spid="141" grpId="0" animBg="1"/>
      <p:bldP spid="149" grpId="0"/>
      <p:bldP spid="15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疯狂的TUT"/>
          <p:cNvPicPr>
            <a:picLocks noChangeAspect="1"/>
          </p:cNvPicPr>
          <p:nvPr/>
        </p:nvPicPr>
        <p:blipFill>
          <a:blip r:embed="rId1"/>
          <a:stretch>
            <a:fillRect/>
          </a:stretch>
        </p:blipFill>
        <p:spPr>
          <a:xfrm>
            <a:off x="2964180" y="126365"/>
            <a:ext cx="7870190" cy="6275070"/>
          </a:xfrm>
          <a:prstGeom prst="rect">
            <a:avLst/>
          </a:prstGeom>
        </p:spPr>
      </p:pic>
      <p:sp>
        <p:nvSpPr>
          <p:cNvPr id="5" name="矩形 4"/>
          <p:cNvSpPr/>
          <p:nvPr/>
        </p:nvSpPr>
        <p:spPr>
          <a:xfrm>
            <a:off x="1217930" y="370205"/>
            <a:ext cx="174625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6" name="矩形 5"/>
          <p:cNvSpPr/>
          <p:nvPr/>
        </p:nvSpPr>
        <p:spPr>
          <a:xfrm>
            <a:off x="494030" y="1210945"/>
            <a:ext cx="723900" cy="38874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系统功能模块设计</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p:cNvSpPr/>
          <p:nvPr/>
        </p:nvSpPr>
        <p:spPr>
          <a:xfrm>
            <a:off x="1217930" y="181610"/>
            <a:ext cx="354965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ctr"/>
            <a:r>
              <a:rPr lang="zh-CN" altLang="en-US" sz="3200">
                <a:solidFill>
                  <a:schemeClr val="tx1">
                    <a:lumMod val="75000"/>
                    <a:lumOff val="25000"/>
                  </a:schemeClr>
                </a:solidFill>
                <a:latin typeface="站酷快乐体" panose="02010600030101010101" charset="-128"/>
                <a:ea typeface="站酷快乐体" panose="02010600030101010101" charset="-128"/>
              </a:rPr>
              <a:t>系统功能模块设计</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30" name="图片 8"/>
          <p:cNvPicPr>
            <a:picLocks noChangeAspect="1"/>
          </p:cNvPicPr>
          <p:nvPr/>
        </p:nvPicPr>
        <p:blipFill>
          <a:blip r:embed="rId1"/>
          <a:stretch>
            <a:fillRect/>
          </a:stretch>
        </p:blipFill>
        <p:spPr>
          <a:xfrm>
            <a:off x="659130" y="1022033"/>
            <a:ext cx="4667250" cy="5286375"/>
          </a:xfrm>
          <a:prstGeom prst="rect">
            <a:avLst/>
          </a:prstGeom>
          <a:noFill/>
          <a:ln>
            <a:noFill/>
          </a:ln>
        </p:spPr>
      </p:pic>
      <p:sp>
        <p:nvSpPr>
          <p:cNvPr id="17" name="Diamond 16"/>
          <p:cNvSpPr/>
          <p:nvPr/>
        </p:nvSpPr>
        <p:spPr>
          <a:xfrm>
            <a:off x="5995670" y="1524635"/>
            <a:ext cx="3809365" cy="3809365"/>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3200">
                <a:latin typeface="汉仪粗圆简" panose="02010600000101010101" charset="-122"/>
                <a:ea typeface="汉仪粗圆简" panose="02010600000101010101" charset="-122"/>
                <a:cs typeface="+mn-ea"/>
                <a:sym typeface="+mn-lt"/>
              </a:rPr>
              <a:t>层次设计</a:t>
            </a:r>
            <a:endParaRPr lang="zh-CN" altLang="en-US" sz="3200">
              <a:latin typeface="汉仪粗圆简" panose="02010600000101010101" charset="-122"/>
              <a:ea typeface="汉仪粗圆简" panose="02010600000101010101" charset="-122"/>
              <a:cs typeface="+mn-ea"/>
              <a:sym typeface="+mn-lt"/>
            </a:endParaRPr>
          </a:p>
        </p:txBody>
      </p:sp>
      <p:sp>
        <p:nvSpPr>
          <p:cNvPr id="2" name="Diamond 16"/>
          <p:cNvSpPr/>
          <p:nvPr/>
        </p:nvSpPr>
        <p:spPr>
          <a:xfrm>
            <a:off x="7019290" y="-3057525"/>
            <a:ext cx="6161405" cy="6161405"/>
          </a:xfrm>
          <a:prstGeom prst="diamond">
            <a:avLst/>
          </a:prstGeom>
          <a:solidFill>
            <a:srgbClr val="FFD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1797141"/>
            <a:ext cx="12192000" cy="3263718"/>
          </a:xfrm>
          <a:prstGeom prst="rect">
            <a:avLst/>
          </a:prstGeom>
          <a:gradFill>
            <a:gsLst>
              <a:gs pos="0">
                <a:schemeClr val="accent1"/>
              </a:gs>
              <a:gs pos="54000">
                <a:schemeClr val="accent2"/>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rot="18900000">
            <a:off x="5154557" y="1936338"/>
            <a:ext cx="2985324" cy="2985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9" name="矩形 8"/>
          <p:cNvSpPr/>
          <p:nvPr/>
        </p:nvSpPr>
        <p:spPr>
          <a:xfrm rot="18900000">
            <a:off x="3585301" y="3886003"/>
            <a:ext cx="1724108" cy="1724108"/>
          </a:xfrm>
          <a:prstGeom prst="rect">
            <a:avLst/>
          </a:prstGeom>
          <a:solidFill>
            <a:schemeClr val="accent1"/>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矩形 10"/>
          <p:cNvSpPr/>
          <p:nvPr/>
        </p:nvSpPr>
        <p:spPr>
          <a:xfrm rot="18900000">
            <a:off x="2273566" y="2581459"/>
            <a:ext cx="1724108" cy="1724108"/>
          </a:xfrm>
          <a:prstGeom prst="rect">
            <a:avLst/>
          </a:prstGeom>
          <a:solidFill>
            <a:schemeClr val="accent3"/>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2" name="矩形 11"/>
          <p:cNvSpPr/>
          <p:nvPr/>
        </p:nvSpPr>
        <p:spPr>
          <a:xfrm rot="18900000">
            <a:off x="3582373" y="1249635"/>
            <a:ext cx="1724108" cy="1724108"/>
          </a:xfrm>
          <a:prstGeom prst="rect">
            <a:avLst/>
          </a:prstGeom>
          <a:solidFill>
            <a:schemeClr val="accent2"/>
          </a:solidFill>
          <a:ln>
            <a:noFill/>
          </a:ln>
          <a:effectLst>
            <a:glow rad="393700">
              <a:schemeClr val="bg1">
                <a:alpha val="42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3" name="文本框 12"/>
          <p:cNvSpPr txBox="1"/>
          <p:nvPr/>
        </p:nvSpPr>
        <p:spPr>
          <a:xfrm>
            <a:off x="5946925" y="2327699"/>
            <a:ext cx="1207454" cy="1003102"/>
          </a:xfrm>
          <a:prstGeom prst="rect">
            <a:avLst/>
          </a:prstGeom>
          <a:noFill/>
          <a:ln w="117475">
            <a:noFill/>
          </a:ln>
        </p:spPr>
        <p:txBody>
          <a:bodyPr wrap="none" rtlCol="0">
            <a:prstTxWarp prst="textPlain">
              <a:avLst/>
            </a:prstTxWarp>
            <a:spAutoFit/>
          </a:bodyPr>
          <a:lstStyle/>
          <a:p>
            <a:r>
              <a:rPr lang="en-US" altLang="zh-CN"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rPr>
              <a:t>02</a:t>
            </a:r>
            <a:endParaRPr lang="zh-CN" altLang="en-US" sz="1400" spc="100" dirty="0">
              <a:solidFill>
                <a:schemeClr val="accent1"/>
              </a:solidFill>
              <a:latin typeface="思源黑体 CN Heavy" panose="020B0A00000000000000" pitchFamily="34" charset="-122"/>
              <a:ea typeface="思源黑体 CN Heavy" panose="020B0A00000000000000" pitchFamily="34" charset="-122"/>
              <a:cs typeface="Arial" panose="020B0604020202020204" pitchFamily="34" charset="0"/>
              <a:sym typeface="思源黑体" panose="020B0400000000000000" pitchFamily="34" charset="-122"/>
            </a:endParaRPr>
          </a:p>
        </p:txBody>
      </p:sp>
      <p:sp>
        <p:nvSpPr>
          <p:cNvPr id="15" name="矩形 14"/>
          <p:cNvSpPr/>
          <p:nvPr/>
        </p:nvSpPr>
        <p:spPr>
          <a:xfrm>
            <a:off x="5133975" y="3331210"/>
            <a:ext cx="3027680" cy="1568450"/>
          </a:xfrm>
          <a:prstGeom prst="rect">
            <a:avLst/>
          </a:prstGeom>
        </p:spPr>
        <p:txBody>
          <a:bodyPr wrap="square">
            <a:spAutoFit/>
          </a:bodyPr>
          <a:lstStyle/>
          <a:p>
            <a:pPr algn="ctr">
              <a:spcBef>
                <a:spcPct val="0"/>
              </a:spcBef>
            </a:pPr>
            <a:r>
              <a:rPr lang="zh-CN" altLang="en-US" sz="3200" dirty="0">
                <a:latin typeface="汉仪粗圆简" panose="02010600000101010101" charset="-122"/>
                <a:ea typeface="汉仪粗圆简" panose="02010600000101010101" charset="-122"/>
                <a:sym typeface="思源黑体" panose="020B0400000000000000" pitchFamily="34" charset="-122"/>
              </a:rPr>
              <a:t>接口设计及</a:t>
            </a:r>
            <a:r>
              <a:rPr lang="zh-CN" altLang="en-US" sz="3200" dirty="0">
                <a:latin typeface="汉仪粗圆简" panose="02010600000101010101" charset="-122"/>
                <a:ea typeface="汉仪粗圆简" panose="02010600000101010101" charset="-122"/>
                <a:sym typeface="思源黑体" panose="020B0400000000000000" pitchFamily="34" charset="-122"/>
              </a:rPr>
              <a:t>类图数据流图</a:t>
            </a:r>
            <a:endParaRPr lang="zh-CN" altLang="en-US" sz="3200" dirty="0">
              <a:latin typeface="汉仪粗圆简" panose="02010600000101010101" charset="-122"/>
              <a:ea typeface="汉仪粗圆简" panose="02010600000101010101" charset="-122"/>
              <a:sym typeface="思源黑体" panose="020B0400000000000000" pitchFamily="34" charset="-122"/>
            </a:endParaRPr>
          </a:p>
          <a:p>
            <a:pPr algn="ctr">
              <a:spcBef>
                <a:spcPct val="0"/>
              </a:spcBef>
            </a:pPr>
            <a:endParaRPr lang="zh-CN" altLang="en-US" sz="3200" dirty="0">
              <a:solidFill>
                <a:schemeClr val="tx1">
                  <a:lumMod val="75000"/>
                  <a:lumOff val="25000"/>
                </a:schemeClr>
              </a:solidFill>
              <a:latin typeface="汉仪粗圆简" panose="02010600000101010101" charset="-122"/>
              <a:ea typeface="汉仪粗圆简" panose="02010600000101010101" charset="-122"/>
            </a:endParaRPr>
          </a:p>
        </p:txBody>
      </p:sp>
      <p:grpSp>
        <p:nvGrpSpPr>
          <p:cNvPr id="5" name="组合 4"/>
          <p:cNvGrpSpPr/>
          <p:nvPr/>
        </p:nvGrpSpPr>
        <p:grpSpPr>
          <a:xfrm>
            <a:off x="4612405" y="1091381"/>
            <a:ext cx="4069626" cy="4599650"/>
            <a:chOff x="5550217" y="1317873"/>
            <a:chExt cx="3668840" cy="4146666"/>
          </a:xfrm>
        </p:grpSpPr>
        <p:sp>
          <p:nvSpPr>
            <p:cNvPr id="16" name="矩形 22"/>
            <p:cNvSpPr/>
            <p:nvPr/>
          </p:nvSpPr>
          <p:spPr>
            <a:xfrm rot="18900000" flipV="1">
              <a:off x="5550217" y="1317873"/>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 name="矩形 22"/>
            <p:cNvSpPr/>
            <p:nvPr/>
          </p:nvSpPr>
          <p:spPr>
            <a:xfrm rot="2700000">
              <a:off x="5550217" y="1795699"/>
              <a:ext cx="3668840" cy="3668840"/>
            </a:xfrm>
            <a:custGeom>
              <a:avLst/>
              <a:gdLst>
                <a:gd name="connsiteX0" fmla="*/ 0 w 3467100"/>
                <a:gd name="connsiteY0" fmla="*/ 0 h 3467100"/>
                <a:gd name="connsiteX1" fmla="*/ 3467100 w 3467100"/>
                <a:gd name="connsiteY1" fmla="*/ 0 h 3467100"/>
                <a:gd name="connsiteX2" fmla="*/ 3467100 w 3467100"/>
                <a:gd name="connsiteY2" fmla="*/ 3467100 h 3467100"/>
                <a:gd name="connsiteX3" fmla="*/ 0 w 3467100"/>
                <a:gd name="connsiteY3" fmla="*/ 3467100 h 3467100"/>
                <a:gd name="connsiteX4" fmla="*/ 0 w 3467100"/>
                <a:gd name="connsiteY4" fmla="*/ 0 h 3467100"/>
                <a:gd name="connsiteX0-1" fmla="*/ 3467100 w 3558540"/>
                <a:gd name="connsiteY0-2" fmla="*/ 3467100 h 3558540"/>
                <a:gd name="connsiteX1-3" fmla="*/ 0 w 3558540"/>
                <a:gd name="connsiteY1-4" fmla="*/ 3467100 h 3558540"/>
                <a:gd name="connsiteX2-5" fmla="*/ 0 w 3558540"/>
                <a:gd name="connsiteY2-6" fmla="*/ 0 h 3558540"/>
                <a:gd name="connsiteX3-7" fmla="*/ 3467100 w 3558540"/>
                <a:gd name="connsiteY3-8" fmla="*/ 0 h 3558540"/>
                <a:gd name="connsiteX4-9" fmla="*/ 3558540 w 3558540"/>
                <a:gd name="connsiteY4-10" fmla="*/ 3558540 h 3558540"/>
                <a:gd name="connsiteX0-11" fmla="*/ 3467100 w 3467100"/>
                <a:gd name="connsiteY0-12" fmla="*/ 3467100 h 3467100"/>
                <a:gd name="connsiteX1-13" fmla="*/ 0 w 3467100"/>
                <a:gd name="connsiteY1-14" fmla="*/ 3467100 h 3467100"/>
                <a:gd name="connsiteX2-15" fmla="*/ 0 w 3467100"/>
                <a:gd name="connsiteY2-16" fmla="*/ 0 h 3467100"/>
                <a:gd name="connsiteX3-17" fmla="*/ 3467100 w 3467100"/>
                <a:gd name="connsiteY3-18" fmla="*/ 0 h 3467100"/>
                <a:gd name="connsiteX0-19" fmla="*/ 0 w 3467100"/>
                <a:gd name="connsiteY0-20" fmla="*/ 3467100 h 3467100"/>
                <a:gd name="connsiteX1-21" fmla="*/ 0 w 3467100"/>
                <a:gd name="connsiteY1-22" fmla="*/ 0 h 3467100"/>
                <a:gd name="connsiteX2-23" fmla="*/ 3467100 w 3467100"/>
                <a:gd name="connsiteY2-24" fmla="*/ 0 h 3467100"/>
              </a:gdLst>
              <a:ahLst/>
              <a:cxnLst>
                <a:cxn ang="0">
                  <a:pos x="connsiteX0-1" y="connsiteY0-2"/>
                </a:cxn>
                <a:cxn ang="0">
                  <a:pos x="connsiteX1-3" y="connsiteY1-4"/>
                </a:cxn>
                <a:cxn ang="0">
                  <a:pos x="connsiteX2-5" y="connsiteY2-6"/>
                </a:cxn>
              </a:cxnLst>
              <a:rect l="l" t="t" r="r" b="b"/>
              <a:pathLst>
                <a:path w="3467100" h="3467100">
                  <a:moveTo>
                    <a:pt x="0" y="3467100"/>
                  </a:moveTo>
                  <a:lnTo>
                    <a:pt x="0" y="0"/>
                  </a:lnTo>
                  <a:lnTo>
                    <a:pt x="3467100" y="0"/>
                  </a:lnTo>
                </a:path>
              </a:pathLst>
            </a:custGeom>
            <a:noFill/>
            <a:ln>
              <a:solidFill>
                <a:schemeClr val="accent1">
                  <a:lumMod val="75000"/>
                  <a:alpha val="8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8" name="iconfont-10459-4813179"/>
          <p:cNvSpPr>
            <a:spLocks noChangeAspect="1"/>
          </p:cNvSpPr>
          <p:nvPr/>
        </p:nvSpPr>
        <p:spPr bwMode="auto">
          <a:xfrm>
            <a:off x="4231433" y="1797141"/>
            <a:ext cx="609685" cy="600087"/>
          </a:xfrm>
          <a:custGeom>
            <a:avLst/>
            <a:gdLst>
              <a:gd name="T0" fmla="*/ 5779 w 11379"/>
              <a:gd name="T1" fmla="*/ 0 h 11200"/>
              <a:gd name="T2" fmla="*/ 711 w 11379"/>
              <a:gd name="T3" fmla="*/ 3215 h 11200"/>
              <a:gd name="T4" fmla="*/ 711 w 11379"/>
              <a:gd name="T5" fmla="*/ 7985 h 11200"/>
              <a:gd name="T6" fmla="*/ 5779 w 11379"/>
              <a:gd name="T7" fmla="*/ 11200 h 11200"/>
              <a:gd name="T8" fmla="*/ 11379 w 11379"/>
              <a:gd name="T9" fmla="*/ 5600 h 11200"/>
              <a:gd name="T10" fmla="*/ 5779 w 11379"/>
              <a:gd name="T11" fmla="*/ 0 h 11200"/>
              <a:gd name="T12" fmla="*/ 979 w 11379"/>
              <a:gd name="T13" fmla="*/ 5600 h 11200"/>
              <a:gd name="T14" fmla="*/ 1244 w 11379"/>
              <a:gd name="T15" fmla="*/ 4022 h 11200"/>
              <a:gd name="T16" fmla="*/ 2581 w 11379"/>
              <a:gd name="T17" fmla="*/ 5600 h 11200"/>
              <a:gd name="T18" fmla="*/ 1244 w 11379"/>
              <a:gd name="T19" fmla="*/ 7178 h 11200"/>
              <a:gd name="T20" fmla="*/ 979 w 11379"/>
              <a:gd name="T21" fmla="*/ 5600 h 11200"/>
              <a:gd name="T22" fmla="*/ 9173 w 11379"/>
              <a:gd name="T23" fmla="*/ 8994 h 11200"/>
              <a:gd name="T24" fmla="*/ 5109 w 11379"/>
              <a:gd name="T25" fmla="*/ 10352 h 11200"/>
              <a:gd name="T26" fmla="*/ 1578 w 11379"/>
              <a:gd name="T27" fmla="*/ 7925 h 11200"/>
              <a:gd name="T28" fmla="*/ 3379 w 11379"/>
              <a:gd name="T29" fmla="*/ 5600 h 11200"/>
              <a:gd name="T30" fmla="*/ 1578 w 11379"/>
              <a:gd name="T31" fmla="*/ 3276 h 11200"/>
              <a:gd name="T32" fmla="*/ 4778 w 11379"/>
              <a:gd name="T33" fmla="*/ 901 h 11200"/>
              <a:gd name="T34" fmla="*/ 8669 w 11379"/>
              <a:gd name="T35" fmla="*/ 1761 h 11200"/>
              <a:gd name="T36" fmla="*/ 10571 w 11379"/>
              <a:gd name="T37" fmla="*/ 5263 h 11200"/>
              <a:gd name="T38" fmla="*/ 9173 w 11379"/>
              <a:gd name="T39" fmla="*/ 8994 h 11200"/>
              <a:gd name="T40" fmla="*/ 10179 w 11379"/>
              <a:gd name="T41" fmla="*/ 2400 h 11200"/>
              <a:gd name="T42" fmla="*/ 1379 w 11379"/>
              <a:gd name="T43" fmla="*/ 2400 h 11200"/>
              <a:gd name="T44" fmla="*/ 1379 w 11379"/>
              <a:gd name="T45" fmla="*/ 3200 h 11200"/>
              <a:gd name="T46" fmla="*/ 10179 w 11379"/>
              <a:gd name="T47" fmla="*/ 3200 h 11200"/>
              <a:gd name="T48" fmla="*/ 10179 w 11379"/>
              <a:gd name="T49" fmla="*/ 2400 h 11200"/>
              <a:gd name="T50" fmla="*/ 10179 w 11379"/>
              <a:gd name="T51" fmla="*/ 8000 h 11200"/>
              <a:gd name="T52" fmla="*/ 1379 w 11379"/>
              <a:gd name="T53" fmla="*/ 8000 h 11200"/>
              <a:gd name="T54" fmla="*/ 1379 w 11379"/>
              <a:gd name="T55" fmla="*/ 8800 h 11200"/>
              <a:gd name="T56" fmla="*/ 10179 w 11379"/>
              <a:gd name="T57" fmla="*/ 8800 h 11200"/>
              <a:gd name="T58" fmla="*/ 10179 w 11379"/>
              <a:gd name="T59" fmla="*/ 8000 h 11200"/>
              <a:gd name="T60" fmla="*/ 5379 w 11379"/>
              <a:gd name="T61" fmla="*/ 3600 h 11200"/>
              <a:gd name="T62" fmla="*/ 3779 w 11379"/>
              <a:gd name="T63" fmla="*/ 3600 h 11200"/>
              <a:gd name="T64" fmla="*/ 3779 w 11379"/>
              <a:gd name="T65" fmla="*/ 5200 h 11200"/>
              <a:gd name="T66" fmla="*/ 5379 w 11379"/>
              <a:gd name="T67" fmla="*/ 5200 h 11200"/>
              <a:gd name="T68" fmla="*/ 5379 w 11379"/>
              <a:gd name="T69" fmla="*/ 3600 h 11200"/>
              <a:gd name="T70" fmla="*/ 5379 w 11379"/>
              <a:gd name="T71" fmla="*/ 6000 h 11200"/>
              <a:gd name="T72" fmla="*/ 3779 w 11379"/>
              <a:gd name="T73" fmla="*/ 6000 h 11200"/>
              <a:gd name="T74" fmla="*/ 3779 w 11379"/>
              <a:gd name="T75" fmla="*/ 7600 h 11200"/>
              <a:gd name="T76" fmla="*/ 5379 w 11379"/>
              <a:gd name="T77" fmla="*/ 7600 h 11200"/>
              <a:gd name="T78" fmla="*/ 5379 w 11379"/>
              <a:gd name="T79" fmla="*/ 6000 h 11200"/>
              <a:gd name="T80" fmla="*/ 7379 w 11379"/>
              <a:gd name="T81" fmla="*/ 3600 h 11200"/>
              <a:gd name="T82" fmla="*/ 5779 w 11379"/>
              <a:gd name="T83" fmla="*/ 3600 h 11200"/>
              <a:gd name="T84" fmla="*/ 5779 w 11379"/>
              <a:gd name="T85" fmla="*/ 5200 h 11200"/>
              <a:gd name="T86" fmla="*/ 7379 w 11379"/>
              <a:gd name="T87" fmla="*/ 5200 h 11200"/>
              <a:gd name="T88" fmla="*/ 7379 w 11379"/>
              <a:gd name="T89" fmla="*/ 3600 h 11200"/>
              <a:gd name="T90" fmla="*/ 7379 w 11379"/>
              <a:gd name="T91" fmla="*/ 6000 h 11200"/>
              <a:gd name="T92" fmla="*/ 5779 w 11379"/>
              <a:gd name="T93" fmla="*/ 6000 h 11200"/>
              <a:gd name="T94" fmla="*/ 5779 w 11379"/>
              <a:gd name="T95" fmla="*/ 7600 h 11200"/>
              <a:gd name="T96" fmla="*/ 7379 w 11379"/>
              <a:gd name="T97" fmla="*/ 7600 h 11200"/>
              <a:gd name="T98" fmla="*/ 7379 w 11379"/>
              <a:gd name="T99" fmla="*/ 6000 h 11200"/>
              <a:gd name="T100" fmla="*/ 9379 w 11379"/>
              <a:gd name="T101" fmla="*/ 3600 h 11200"/>
              <a:gd name="T102" fmla="*/ 7779 w 11379"/>
              <a:gd name="T103" fmla="*/ 3600 h 11200"/>
              <a:gd name="T104" fmla="*/ 7779 w 11379"/>
              <a:gd name="T105" fmla="*/ 5200 h 11200"/>
              <a:gd name="T106" fmla="*/ 9379 w 11379"/>
              <a:gd name="T107" fmla="*/ 5200 h 11200"/>
              <a:gd name="T108" fmla="*/ 9379 w 11379"/>
              <a:gd name="T109" fmla="*/ 3600 h 11200"/>
              <a:gd name="T110" fmla="*/ 9379 w 11379"/>
              <a:gd name="T111" fmla="*/ 6000 h 11200"/>
              <a:gd name="T112" fmla="*/ 7779 w 11379"/>
              <a:gd name="T113" fmla="*/ 6000 h 11200"/>
              <a:gd name="T114" fmla="*/ 7779 w 11379"/>
              <a:gd name="T115" fmla="*/ 7600 h 11200"/>
              <a:gd name="T116" fmla="*/ 9379 w 11379"/>
              <a:gd name="T117" fmla="*/ 7600 h 11200"/>
              <a:gd name="T118" fmla="*/ 9379 w 11379"/>
              <a:gd name="T119" fmla="*/ 60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9" h="11200">
                <a:moveTo>
                  <a:pt x="5779" y="0"/>
                </a:moveTo>
                <a:cubicBezTo>
                  <a:pt x="3539" y="0"/>
                  <a:pt x="1607" y="1315"/>
                  <a:pt x="711" y="3215"/>
                </a:cubicBezTo>
                <a:cubicBezTo>
                  <a:pt x="0" y="4726"/>
                  <a:pt x="0" y="6474"/>
                  <a:pt x="711" y="7985"/>
                </a:cubicBezTo>
                <a:cubicBezTo>
                  <a:pt x="1607" y="9885"/>
                  <a:pt x="3539" y="11200"/>
                  <a:pt x="5779" y="11200"/>
                </a:cubicBezTo>
                <a:cubicBezTo>
                  <a:pt x="8872" y="11200"/>
                  <a:pt x="11379" y="8693"/>
                  <a:pt x="11379" y="5600"/>
                </a:cubicBezTo>
                <a:cubicBezTo>
                  <a:pt x="11379" y="2507"/>
                  <a:pt x="8872" y="0"/>
                  <a:pt x="5779" y="0"/>
                </a:cubicBezTo>
                <a:close/>
                <a:moveTo>
                  <a:pt x="979" y="5600"/>
                </a:moveTo>
                <a:cubicBezTo>
                  <a:pt x="978" y="5063"/>
                  <a:pt x="1068" y="4529"/>
                  <a:pt x="1244" y="4022"/>
                </a:cubicBezTo>
                <a:cubicBezTo>
                  <a:pt x="2016" y="4151"/>
                  <a:pt x="2581" y="4818"/>
                  <a:pt x="2581" y="5600"/>
                </a:cubicBezTo>
                <a:cubicBezTo>
                  <a:pt x="2581" y="6382"/>
                  <a:pt x="2016" y="7050"/>
                  <a:pt x="1244" y="7178"/>
                </a:cubicBezTo>
                <a:cubicBezTo>
                  <a:pt x="1068" y="6671"/>
                  <a:pt x="978" y="6137"/>
                  <a:pt x="979" y="5600"/>
                </a:cubicBezTo>
                <a:close/>
                <a:moveTo>
                  <a:pt x="9173" y="8994"/>
                </a:moveTo>
                <a:cubicBezTo>
                  <a:pt x="8107" y="10059"/>
                  <a:pt x="6602" y="10562"/>
                  <a:pt x="5109" y="10352"/>
                </a:cubicBezTo>
                <a:cubicBezTo>
                  <a:pt x="3617" y="10142"/>
                  <a:pt x="2309" y="9243"/>
                  <a:pt x="1578" y="7925"/>
                </a:cubicBezTo>
                <a:cubicBezTo>
                  <a:pt x="2638" y="7651"/>
                  <a:pt x="3379" y="6695"/>
                  <a:pt x="3379" y="5600"/>
                </a:cubicBezTo>
                <a:cubicBezTo>
                  <a:pt x="3379" y="4506"/>
                  <a:pt x="2638" y="3549"/>
                  <a:pt x="1578" y="3276"/>
                </a:cubicBezTo>
                <a:cubicBezTo>
                  <a:pt x="2251" y="2058"/>
                  <a:pt x="3418" y="1192"/>
                  <a:pt x="4778" y="901"/>
                </a:cubicBezTo>
                <a:cubicBezTo>
                  <a:pt x="6138" y="611"/>
                  <a:pt x="7558" y="924"/>
                  <a:pt x="8669" y="1761"/>
                </a:cubicBezTo>
                <a:cubicBezTo>
                  <a:pt x="9780" y="2598"/>
                  <a:pt x="10474" y="3875"/>
                  <a:pt x="10571" y="5263"/>
                </a:cubicBezTo>
                <a:cubicBezTo>
                  <a:pt x="10667" y="6650"/>
                  <a:pt x="10157" y="8011"/>
                  <a:pt x="9173" y="8994"/>
                </a:cubicBezTo>
                <a:close/>
                <a:moveTo>
                  <a:pt x="10179" y="2400"/>
                </a:moveTo>
                <a:lnTo>
                  <a:pt x="1379" y="2400"/>
                </a:lnTo>
                <a:lnTo>
                  <a:pt x="1379" y="3200"/>
                </a:lnTo>
                <a:lnTo>
                  <a:pt x="10179" y="3200"/>
                </a:lnTo>
                <a:lnTo>
                  <a:pt x="10179" y="2400"/>
                </a:lnTo>
                <a:close/>
                <a:moveTo>
                  <a:pt x="10179" y="8000"/>
                </a:moveTo>
                <a:lnTo>
                  <a:pt x="1379" y="8000"/>
                </a:lnTo>
                <a:lnTo>
                  <a:pt x="1379" y="8800"/>
                </a:lnTo>
                <a:lnTo>
                  <a:pt x="10179" y="8800"/>
                </a:lnTo>
                <a:lnTo>
                  <a:pt x="10179" y="8000"/>
                </a:lnTo>
                <a:close/>
                <a:moveTo>
                  <a:pt x="5379" y="3600"/>
                </a:moveTo>
                <a:lnTo>
                  <a:pt x="3779" y="3600"/>
                </a:lnTo>
                <a:lnTo>
                  <a:pt x="3779" y="5200"/>
                </a:lnTo>
                <a:lnTo>
                  <a:pt x="5379" y="5200"/>
                </a:lnTo>
                <a:lnTo>
                  <a:pt x="5379" y="3600"/>
                </a:lnTo>
                <a:close/>
                <a:moveTo>
                  <a:pt x="5379" y="6000"/>
                </a:moveTo>
                <a:lnTo>
                  <a:pt x="3779" y="6000"/>
                </a:lnTo>
                <a:lnTo>
                  <a:pt x="3779" y="7600"/>
                </a:lnTo>
                <a:lnTo>
                  <a:pt x="5379" y="7600"/>
                </a:lnTo>
                <a:lnTo>
                  <a:pt x="5379" y="6000"/>
                </a:lnTo>
                <a:close/>
                <a:moveTo>
                  <a:pt x="7379" y="3600"/>
                </a:moveTo>
                <a:lnTo>
                  <a:pt x="5779" y="3600"/>
                </a:lnTo>
                <a:lnTo>
                  <a:pt x="5779" y="5200"/>
                </a:lnTo>
                <a:lnTo>
                  <a:pt x="7379" y="5200"/>
                </a:lnTo>
                <a:lnTo>
                  <a:pt x="7379" y="3600"/>
                </a:lnTo>
                <a:close/>
                <a:moveTo>
                  <a:pt x="7379" y="6000"/>
                </a:moveTo>
                <a:lnTo>
                  <a:pt x="5779" y="6000"/>
                </a:lnTo>
                <a:lnTo>
                  <a:pt x="5779" y="7600"/>
                </a:lnTo>
                <a:lnTo>
                  <a:pt x="7379" y="7600"/>
                </a:lnTo>
                <a:lnTo>
                  <a:pt x="7379" y="6000"/>
                </a:lnTo>
                <a:close/>
                <a:moveTo>
                  <a:pt x="9379" y="3600"/>
                </a:moveTo>
                <a:lnTo>
                  <a:pt x="7779" y="3600"/>
                </a:lnTo>
                <a:lnTo>
                  <a:pt x="7779" y="5200"/>
                </a:lnTo>
                <a:lnTo>
                  <a:pt x="9379" y="5200"/>
                </a:lnTo>
                <a:lnTo>
                  <a:pt x="9379" y="3600"/>
                </a:lnTo>
                <a:close/>
                <a:moveTo>
                  <a:pt x="9379" y="6000"/>
                </a:moveTo>
                <a:lnTo>
                  <a:pt x="7779" y="6000"/>
                </a:lnTo>
                <a:lnTo>
                  <a:pt x="7779" y="7600"/>
                </a:lnTo>
                <a:lnTo>
                  <a:pt x="9379" y="7600"/>
                </a:lnTo>
                <a:lnTo>
                  <a:pt x="9379" y="6000"/>
                </a:lnTo>
                <a:close/>
              </a:path>
            </a:pathLst>
          </a:custGeom>
          <a:solidFill>
            <a:schemeClr val="bg1"/>
          </a:solidFill>
          <a:ln>
            <a:noFill/>
          </a:ln>
        </p:spPr>
      </p:sp>
      <p:sp>
        <p:nvSpPr>
          <p:cNvPr id="19" name="iconfont-10459-4813181"/>
          <p:cNvSpPr>
            <a:spLocks noChangeAspect="1"/>
          </p:cNvSpPr>
          <p:nvPr/>
        </p:nvSpPr>
        <p:spPr bwMode="auto">
          <a:xfrm>
            <a:off x="2864696" y="3215149"/>
            <a:ext cx="609685" cy="597919"/>
          </a:xfrm>
          <a:custGeom>
            <a:avLst/>
            <a:gdLst>
              <a:gd name="T0" fmla="*/ 8480 w 11552"/>
              <a:gd name="T1" fmla="*/ 5776 h 11328"/>
              <a:gd name="T2" fmla="*/ 7632 w 11552"/>
              <a:gd name="T3" fmla="*/ 0 h 11328"/>
              <a:gd name="T4" fmla="*/ 0 w 11552"/>
              <a:gd name="T5" fmla="*/ 848 h 11328"/>
              <a:gd name="T6" fmla="*/ 848 w 11552"/>
              <a:gd name="T7" fmla="*/ 11328 h 11328"/>
              <a:gd name="T8" fmla="*/ 6032 w 11552"/>
              <a:gd name="T9" fmla="*/ 6656 h 11328"/>
              <a:gd name="T10" fmla="*/ 2048 w 11552"/>
              <a:gd name="T11" fmla="*/ 1392 h 11328"/>
              <a:gd name="T12" fmla="*/ 7152 w 11552"/>
              <a:gd name="T13" fmla="*/ 2096 h 11328"/>
              <a:gd name="T14" fmla="*/ 2048 w 11552"/>
              <a:gd name="T15" fmla="*/ 2800 h 11328"/>
              <a:gd name="T16" fmla="*/ 2048 w 11552"/>
              <a:gd name="T17" fmla="*/ 1392 h 11328"/>
              <a:gd name="T18" fmla="*/ 2048 w 11552"/>
              <a:gd name="T19" fmla="*/ 3552 h 11328"/>
              <a:gd name="T20" fmla="*/ 7152 w 11552"/>
              <a:gd name="T21" fmla="*/ 4256 h 11328"/>
              <a:gd name="T22" fmla="*/ 2048 w 11552"/>
              <a:gd name="T23" fmla="*/ 4960 h 11328"/>
              <a:gd name="T24" fmla="*/ 4240 w 11552"/>
              <a:gd name="T25" fmla="*/ 8160 h 11328"/>
              <a:gd name="T26" fmla="*/ 4240 w 11552"/>
              <a:gd name="T27" fmla="*/ 6080 h 11328"/>
              <a:gd name="T28" fmla="*/ 4240 w 11552"/>
              <a:gd name="T29" fmla="*/ 8160 h 11328"/>
              <a:gd name="T30" fmla="*/ 6512 w 11552"/>
              <a:gd name="T31" fmla="*/ 9088 h 11328"/>
              <a:gd name="T32" fmla="*/ 7632 w 11552"/>
              <a:gd name="T33" fmla="*/ 10768 h 11328"/>
              <a:gd name="T34" fmla="*/ 7632 w 11552"/>
              <a:gd name="T35" fmla="*/ 8528 h 11328"/>
              <a:gd name="T36" fmla="*/ 9552 w 11552"/>
              <a:gd name="T37" fmla="*/ 8400 h 11328"/>
              <a:gd name="T38" fmla="*/ 9168 w 11552"/>
              <a:gd name="T39" fmla="*/ 7824 h 11328"/>
              <a:gd name="T40" fmla="*/ 8976 w 11552"/>
              <a:gd name="T41" fmla="*/ 8208 h 11328"/>
              <a:gd name="T42" fmla="*/ 8896 w 11552"/>
              <a:gd name="T43" fmla="*/ 9264 h 11328"/>
              <a:gd name="T44" fmla="*/ 9104 w 11552"/>
              <a:gd name="T45" fmla="*/ 9632 h 11328"/>
              <a:gd name="T46" fmla="*/ 9552 w 11552"/>
              <a:gd name="T47" fmla="*/ 8400 h 11328"/>
              <a:gd name="T48" fmla="*/ 10480 w 11552"/>
              <a:gd name="T49" fmla="*/ 8128 h 11328"/>
              <a:gd name="T50" fmla="*/ 9824 w 11552"/>
              <a:gd name="T51" fmla="*/ 7216 h 11328"/>
              <a:gd name="T52" fmla="*/ 9664 w 11552"/>
              <a:gd name="T53" fmla="*/ 7632 h 11328"/>
              <a:gd name="T54" fmla="*/ 9520 w 11552"/>
              <a:gd name="T55" fmla="*/ 9888 h 11328"/>
              <a:gd name="T56" fmla="*/ 9696 w 11552"/>
              <a:gd name="T57" fmla="*/ 10288 h 11328"/>
              <a:gd name="T58" fmla="*/ 10496 w 11552"/>
              <a:gd name="T59" fmla="*/ 9072 h 11328"/>
              <a:gd name="T60" fmla="*/ 10768 w 11552"/>
              <a:gd name="T61" fmla="*/ 6688 h 11328"/>
              <a:gd name="T62" fmla="*/ 10336 w 11552"/>
              <a:gd name="T63" fmla="*/ 6832 h 11328"/>
              <a:gd name="T64" fmla="*/ 10896 w 11552"/>
              <a:gd name="T65" fmla="*/ 9520 h 11328"/>
              <a:gd name="T66" fmla="*/ 10128 w 11552"/>
              <a:gd name="T67" fmla="*/ 10784 h 11328"/>
              <a:gd name="T68" fmla="*/ 10528 w 11552"/>
              <a:gd name="T69" fmla="*/ 10960 h 11328"/>
              <a:gd name="T70" fmla="*/ 11504 w 11552"/>
              <a:gd name="T71" fmla="*/ 8336 h 1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552" h="11328">
                <a:moveTo>
                  <a:pt x="6928" y="5776"/>
                </a:moveTo>
                <a:lnTo>
                  <a:pt x="8480" y="5776"/>
                </a:lnTo>
                <a:lnTo>
                  <a:pt x="8480" y="848"/>
                </a:lnTo>
                <a:cubicBezTo>
                  <a:pt x="8480" y="384"/>
                  <a:pt x="8096" y="0"/>
                  <a:pt x="7632" y="0"/>
                </a:cubicBezTo>
                <a:lnTo>
                  <a:pt x="864" y="0"/>
                </a:lnTo>
                <a:cubicBezTo>
                  <a:pt x="384" y="0"/>
                  <a:pt x="0" y="384"/>
                  <a:pt x="0" y="848"/>
                </a:cubicBezTo>
                <a:lnTo>
                  <a:pt x="0" y="10480"/>
                </a:lnTo>
                <a:cubicBezTo>
                  <a:pt x="0" y="10944"/>
                  <a:pt x="384" y="11328"/>
                  <a:pt x="848" y="11328"/>
                </a:cubicBezTo>
                <a:lnTo>
                  <a:pt x="6032" y="11328"/>
                </a:lnTo>
                <a:lnTo>
                  <a:pt x="6032" y="6656"/>
                </a:lnTo>
                <a:cubicBezTo>
                  <a:pt x="6048" y="6176"/>
                  <a:pt x="6448" y="5776"/>
                  <a:pt x="6928" y="5776"/>
                </a:cubicBezTo>
                <a:close/>
                <a:moveTo>
                  <a:pt x="2048" y="1392"/>
                </a:moveTo>
                <a:lnTo>
                  <a:pt x="6448" y="1392"/>
                </a:lnTo>
                <a:cubicBezTo>
                  <a:pt x="6832" y="1392"/>
                  <a:pt x="7152" y="1712"/>
                  <a:pt x="7152" y="2096"/>
                </a:cubicBezTo>
                <a:cubicBezTo>
                  <a:pt x="7152" y="2480"/>
                  <a:pt x="6832" y="2800"/>
                  <a:pt x="6448" y="2800"/>
                </a:cubicBezTo>
                <a:lnTo>
                  <a:pt x="2048" y="2800"/>
                </a:lnTo>
                <a:cubicBezTo>
                  <a:pt x="1664" y="2800"/>
                  <a:pt x="1344" y="2480"/>
                  <a:pt x="1344" y="2096"/>
                </a:cubicBezTo>
                <a:cubicBezTo>
                  <a:pt x="1344" y="1712"/>
                  <a:pt x="1664" y="1392"/>
                  <a:pt x="2048" y="1392"/>
                </a:cubicBezTo>
                <a:close/>
                <a:moveTo>
                  <a:pt x="1344" y="4256"/>
                </a:moveTo>
                <a:cubicBezTo>
                  <a:pt x="1344" y="3872"/>
                  <a:pt x="1664" y="3552"/>
                  <a:pt x="2048" y="3552"/>
                </a:cubicBezTo>
                <a:lnTo>
                  <a:pt x="6448" y="3552"/>
                </a:lnTo>
                <a:cubicBezTo>
                  <a:pt x="6832" y="3552"/>
                  <a:pt x="7152" y="3872"/>
                  <a:pt x="7152" y="4256"/>
                </a:cubicBezTo>
                <a:cubicBezTo>
                  <a:pt x="7152" y="4640"/>
                  <a:pt x="6832" y="4960"/>
                  <a:pt x="6448" y="4960"/>
                </a:cubicBezTo>
                <a:lnTo>
                  <a:pt x="2048" y="4960"/>
                </a:lnTo>
                <a:cubicBezTo>
                  <a:pt x="1664" y="4944"/>
                  <a:pt x="1344" y="4624"/>
                  <a:pt x="1344" y="4256"/>
                </a:cubicBezTo>
                <a:close/>
                <a:moveTo>
                  <a:pt x="4240" y="8160"/>
                </a:moveTo>
                <a:cubicBezTo>
                  <a:pt x="3664" y="8160"/>
                  <a:pt x="3200" y="7696"/>
                  <a:pt x="3200" y="7120"/>
                </a:cubicBezTo>
                <a:cubicBezTo>
                  <a:pt x="3200" y="6544"/>
                  <a:pt x="3664" y="6080"/>
                  <a:pt x="4240" y="6080"/>
                </a:cubicBezTo>
                <a:cubicBezTo>
                  <a:pt x="4816" y="6080"/>
                  <a:pt x="5280" y="6544"/>
                  <a:pt x="5280" y="7120"/>
                </a:cubicBezTo>
                <a:cubicBezTo>
                  <a:pt x="5296" y="7696"/>
                  <a:pt x="4832" y="8160"/>
                  <a:pt x="4240" y="8160"/>
                </a:cubicBezTo>
                <a:close/>
                <a:moveTo>
                  <a:pt x="7632" y="6848"/>
                </a:moveTo>
                <a:lnTo>
                  <a:pt x="6512" y="9088"/>
                </a:lnTo>
                <a:lnTo>
                  <a:pt x="7632" y="9088"/>
                </a:lnTo>
                <a:lnTo>
                  <a:pt x="7632" y="10768"/>
                </a:lnTo>
                <a:lnTo>
                  <a:pt x="8752" y="8528"/>
                </a:lnTo>
                <a:lnTo>
                  <a:pt x="7632" y="8528"/>
                </a:lnTo>
                <a:lnTo>
                  <a:pt x="7632" y="6848"/>
                </a:lnTo>
                <a:close/>
                <a:moveTo>
                  <a:pt x="9552" y="8400"/>
                </a:moveTo>
                <a:cubicBezTo>
                  <a:pt x="9504" y="8112"/>
                  <a:pt x="9376" y="7952"/>
                  <a:pt x="9360" y="7920"/>
                </a:cubicBezTo>
                <a:cubicBezTo>
                  <a:pt x="9312" y="7856"/>
                  <a:pt x="9248" y="7824"/>
                  <a:pt x="9168" y="7824"/>
                </a:cubicBezTo>
                <a:cubicBezTo>
                  <a:pt x="9040" y="7824"/>
                  <a:pt x="8928" y="7936"/>
                  <a:pt x="8928" y="8064"/>
                </a:cubicBezTo>
                <a:cubicBezTo>
                  <a:pt x="8928" y="8112"/>
                  <a:pt x="8944" y="8176"/>
                  <a:pt x="8976" y="8208"/>
                </a:cubicBezTo>
                <a:cubicBezTo>
                  <a:pt x="8976" y="8208"/>
                  <a:pt x="9040" y="8304"/>
                  <a:pt x="9072" y="8480"/>
                </a:cubicBezTo>
                <a:cubicBezTo>
                  <a:pt x="9120" y="8736"/>
                  <a:pt x="9056" y="8992"/>
                  <a:pt x="8896" y="9264"/>
                </a:cubicBezTo>
                <a:cubicBezTo>
                  <a:pt x="8880" y="9296"/>
                  <a:pt x="8864" y="9344"/>
                  <a:pt x="8864" y="9392"/>
                </a:cubicBezTo>
                <a:cubicBezTo>
                  <a:pt x="8864" y="9520"/>
                  <a:pt x="8976" y="9632"/>
                  <a:pt x="9104" y="9632"/>
                </a:cubicBezTo>
                <a:cubicBezTo>
                  <a:pt x="9200" y="9632"/>
                  <a:pt x="9264" y="9584"/>
                  <a:pt x="9312" y="9520"/>
                </a:cubicBezTo>
                <a:cubicBezTo>
                  <a:pt x="9584" y="9056"/>
                  <a:pt x="9584" y="8656"/>
                  <a:pt x="9552" y="8400"/>
                </a:cubicBezTo>
                <a:close/>
                <a:moveTo>
                  <a:pt x="10496" y="9072"/>
                </a:moveTo>
                <a:cubicBezTo>
                  <a:pt x="10576" y="8752"/>
                  <a:pt x="10560" y="8432"/>
                  <a:pt x="10480" y="8128"/>
                </a:cubicBezTo>
                <a:cubicBezTo>
                  <a:pt x="10336" y="7600"/>
                  <a:pt x="10000" y="7296"/>
                  <a:pt x="9984" y="7280"/>
                </a:cubicBezTo>
                <a:cubicBezTo>
                  <a:pt x="9936" y="7248"/>
                  <a:pt x="9888" y="7216"/>
                  <a:pt x="9824" y="7216"/>
                </a:cubicBezTo>
                <a:cubicBezTo>
                  <a:pt x="9696" y="7216"/>
                  <a:pt x="9584" y="7328"/>
                  <a:pt x="9584" y="7456"/>
                </a:cubicBezTo>
                <a:cubicBezTo>
                  <a:pt x="9584" y="7520"/>
                  <a:pt x="9616" y="7584"/>
                  <a:pt x="9664" y="7632"/>
                </a:cubicBezTo>
                <a:cubicBezTo>
                  <a:pt x="9664" y="7632"/>
                  <a:pt x="9920" y="7872"/>
                  <a:pt x="10032" y="8272"/>
                </a:cubicBezTo>
                <a:cubicBezTo>
                  <a:pt x="10176" y="8800"/>
                  <a:pt x="10000" y="9344"/>
                  <a:pt x="9520" y="9888"/>
                </a:cubicBezTo>
                <a:cubicBezTo>
                  <a:pt x="9488" y="9936"/>
                  <a:pt x="9456" y="9984"/>
                  <a:pt x="9456" y="10048"/>
                </a:cubicBezTo>
                <a:cubicBezTo>
                  <a:pt x="9456" y="10176"/>
                  <a:pt x="9568" y="10288"/>
                  <a:pt x="9696" y="10288"/>
                </a:cubicBezTo>
                <a:cubicBezTo>
                  <a:pt x="9776" y="10288"/>
                  <a:pt x="9840" y="10256"/>
                  <a:pt x="9888" y="10208"/>
                </a:cubicBezTo>
                <a:cubicBezTo>
                  <a:pt x="10192" y="9840"/>
                  <a:pt x="10400" y="9456"/>
                  <a:pt x="10496" y="9072"/>
                </a:cubicBezTo>
                <a:close/>
                <a:moveTo>
                  <a:pt x="11504" y="8336"/>
                </a:moveTo>
                <a:cubicBezTo>
                  <a:pt x="11424" y="7776"/>
                  <a:pt x="11184" y="7216"/>
                  <a:pt x="10768" y="6688"/>
                </a:cubicBezTo>
                <a:cubicBezTo>
                  <a:pt x="10720" y="6624"/>
                  <a:pt x="10656" y="6592"/>
                  <a:pt x="10576" y="6592"/>
                </a:cubicBezTo>
                <a:cubicBezTo>
                  <a:pt x="10448" y="6592"/>
                  <a:pt x="10336" y="6704"/>
                  <a:pt x="10336" y="6832"/>
                </a:cubicBezTo>
                <a:cubicBezTo>
                  <a:pt x="10336" y="6880"/>
                  <a:pt x="10352" y="6944"/>
                  <a:pt x="10384" y="6976"/>
                </a:cubicBezTo>
                <a:cubicBezTo>
                  <a:pt x="11040" y="7808"/>
                  <a:pt x="11200" y="8656"/>
                  <a:pt x="10896" y="9520"/>
                </a:cubicBezTo>
                <a:cubicBezTo>
                  <a:pt x="10656" y="10176"/>
                  <a:pt x="10208" y="10592"/>
                  <a:pt x="10208" y="10608"/>
                </a:cubicBezTo>
                <a:cubicBezTo>
                  <a:pt x="10160" y="10656"/>
                  <a:pt x="10128" y="10720"/>
                  <a:pt x="10128" y="10784"/>
                </a:cubicBezTo>
                <a:cubicBezTo>
                  <a:pt x="10128" y="10912"/>
                  <a:pt x="10240" y="11024"/>
                  <a:pt x="10368" y="11024"/>
                </a:cubicBezTo>
                <a:cubicBezTo>
                  <a:pt x="10432" y="11024"/>
                  <a:pt x="10496" y="10992"/>
                  <a:pt x="10528" y="10960"/>
                </a:cubicBezTo>
                <a:cubicBezTo>
                  <a:pt x="10544" y="10944"/>
                  <a:pt x="11056" y="10464"/>
                  <a:pt x="11344" y="9712"/>
                </a:cubicBezTo>
                <a:cubicBezTo>
                  <a:pt x="11504" y="9264"/>
                  <a:pt x="11552" y="8800"/>
                  <a:pt x="11504" y="8336"/>
                </a:cubicBezTo>
                <a:close/>
              </a:path>
            </a:pathLst>
          </a:custGeom>
          <a:solidFill>
            <a:schemeClr val="bg1"/>
          </a:solidFill>
          <a:ln>
            <a:noFill/>
          </a:ln>
        </p:spPr>
      </p:sp>
      <p:sp>
        <p:nvSpPr>
          <p:cNvPr id="20" name="iconfont-10043-4933350"/>
          <p:cNvSpPr>
            <a:spLocks noChangeAspect="1"/>
          </p:cNvSpPr>
          <p:nvPr/>
        </p:nvSpPr>
        <p:spPr bwMode="auto">
          <a:xfrm>
            <a:off x="4110087" y="4474469"/>
            <a:ext cx="609685" cy="609685"/>
          </a:xfrm>
          <a:custGeom>
            <a:avLst/>
            <a:gdLst>
              <a:gd name="T0" fmla="*/ 5400 w 10800"/>
              <a:gd name="T1" fmla="*/ 10800 h 10800"/>
              <a:gd name="T2" fmla="*/ 0 w 10800"/>
              <a:gd name="T3" fmla="*/ 5400 h 10800"/>
              <a:gd name="T4" fmla="*/ 5400 w 10800"/>
              <a:gd name="T5" fmla="*/ 0 h 10800"/>
              <a:gd name="T6" fmla="*/ 10800 w 10800"/>
              <a:gd name="T7" fmla="*/ 5400 h 10800"/>
              <a:gd name="T8" fmla="*/ 5400 w 10800"/>
              <a:gd name="T9" fmla="*/ 10800 h 10800"/>
              <a:gd name="T10" fmla="*/ 5400 w 10800"/>
              <a:gd name="T11" fmla="*/ 800 h 10800"/>
              <a:gd name="T12" fmla="*/ 800 w 10800"/>
              <a:gd name="T13" fmla="*/ 5400 h 10800"/>
              <a:gd name="T14" fmla="*/ 5400 w 10800"/>
              <a:gd name="T15" fmla="*/ 10000 h 10800"/>
              <a:gd name="T16" fmla="*/ 10000 w 10800"/>
              <a:gd name="T17" fmla="*/ 5400 h 10800"/>
              <a:gd name="T18" fmla="*/ 5400 w 10800"/>
              <a:gd name="T19" fmla="*/ 800 h 10800"/>
              <a:gd name="T20" fmla="*/ 7400 w 10800"/>
              <a:gd name="T21" fmla="*/ 5880 h 10800"/>
              <a:gd name="T22" fmla="*/ 5800 w 10800"/>
              <a:gd name="T23" fmla="*/ 5880 h 10800"/>
              <a:gd name="T24" fmla="*/ 5800 w 10800"/>
              <a:gd name="T25" fmla="*/ 5080 h 10800"/>
              <a:gd name="T26" fmla="*/ 7400 w 10800"/>
              <a:gd name="T27" fmla="*/ 5080 h 10800"/>
              <a:gd name="T28" fmla="*/ 7800 w 10800"/>
              <a:gd name="T29" fmla="*/ 4680 h 10800"/>
              <a:gd name="T30" fmla="*/ 7400 w 10800"/>
              <a:gd name="T31" fmla="*/ 4280 h 10800"/>
              <a:gd name="T32" fmla="*/ 6280 w 10800"/>
              <a:gd name="T33" fmla="*/ 4280 h 10800"/>
              <a:gd name="T34" fmla="*/ 7380 w 10800"/>
              <a:gd name="T35" fmla="*/ 3180 h 10800"/>
              <a:gd name="T36" fmla="*/ 7380 w 10800"/>
              <a:gd name="T37" fmla="*/ 2620 h 10800"/>
              <a:gd name="T38" fmla="*/ 6820 w 10800"/>
              <a:gd name="T39" fmla="*/ 2620 h 10800"/>
              <a:gd name="T40" fmla="*/ 5400 w 10800"/>
              <a:gd name="T41" fmla="*/ 4040 h 10800"/>
              <a:gd name="T42" fmla="*/ 3980 w 10800"/>
              <a:gd name="T43" fmla="*/ 2620 h 10800"/>
              <a:gd name="T44" fmla="*/ 3420 w 10800"/>
              <a:gd name="T45" fmla="*/ 2620 h 10800"/>
              <a:gd name="T46" fmla="*/ 3420 w 10800"/>
              <a:gd name="T47" fmla="*/ 3180 h 10800"/>
              <a:gd name="T48" fmla="*/ 4520 w 10800"/>
              <a:gd name="T49" fmla="*/ 4280 h 10800"/>
              <a:gd name="T50" fmla="*/ 3400 w 10800"/>
              <a:gd name="T51" fmla="*/ 4280 h 10800"/>
              <a:gd name="T52" fmla="*/ 3000 w 10800"/>
              <a:gd name="T53" fmla="*/ 4680 h 10800"/>
              <a:gd name="T54" fmla="*/ 3400 w 10800"/>
              <a:gd name="T55" fmla="*/ 5080 h 10800"/>
              <a:gd name="T56" fmla="*/ 5000 w 10800"/>
              <a:gd name="T57" fmla="*/ 5080 h 10800"/>
              <a:gd name="T58" fmla="*/ 5000 w 10800"/>
              <a:gd name="T59" fmla="*/ 5880 h 10800"/>
              <a:gd name="T60" fmla="*/ 3400 w 10800"/>
              <a:gd name="T61" fmla="*/ 5880 h 10800"/>
              <a:gd name="T62" fmla="*/ 3000 w 10800"/>
              <a:gd name="T63" fmla="*/ 6280 h 10800"/>
              <a:gd name="T64" fmla="*/ 3400 w 10800"/>
              <a:gd name="T65" fmla="*/ 6680 h 10800"/>
              <a:gd name="T66" fmla="*/ 5000 w 10800"/>
              <a:gd name="T67" fmla="*/ 6680 h 10800"/>
              <a:gd name="T68" fmla="*/ 5000 w 10800"/>
              <a:gd name="T69" fmla="*/ 8280 h 10800"/>
              <a:gd name="T70" fmla="*/ 5400 w 10800"/>
              <a:gd name="T71" fmla="*/ 8680 h 10800"/>
              <a:gd name="T72" fmla="*/ 5800 w 10800"/>
              <a:gd name="T73" fmla="*/ 8280 h 10800"/>
              <a:gd name="T74" fmla="*/ 5800 w 10800"/>
              <a:gd name="T75" fmla="*/ 6680 h 10800"/>
              <a:gd name="T76" fmla="*/ 7400 w 10800"/>
              <a:gd name="T77" fmla="*/ 6680 h 10800"/>
              <a:gd name="T78" fmla="*/ 7800 w 10800"/>
              <a:gd name="T79" fmla="*/ 6280 h 10800"/>
              <a:gd name="T80" fmla="*/ 7400 w 10800"/>
              <a:gd name="T81" fmla="*/ 5880 h 10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00" h="10800">
                <a:moveTo>
                  <a:pt x="5400" y="10800"/>
                </a:moveTo>
                <a:cubicBezTo>
                  <a:pt x="2420" y="10800"/>
                  <a:pt x="0" y="8380"/>
                  <a:pt x="0" y="5400"/>
                </a:cubicBezTo>
                <a:cubicBezTo>
                  <a:pt x="0" y="2420"/>
                  <a:pt x="2420" y="0"/>
                  <a:pt x="5400" y="0"/>
                </a:cubicBezTo>
                <a:cubicBezTo>
                  <a:pt x="8380" y="0"/>
                  <a:pt x="10800" y="2420"/>
                  <a:pt x="10800" y="5400"/>
                </a:cubicBezTo>
                <a:cubicBezTo>
                  <a:pt x="10800" y="8380"/>
                  <a:pt x="8380" y="10800"/>
                  <a:pt x="5400" y="10800"/>
                </a:cubicBezTo>
                <a:close/>
                <a:moveTo>
                  <a:pt x="5400" y="800"/>
                </a:moveTo>
                <a:cubicBezTo>
                  <a:pt x="2860" y="800"/>
                  <a:pt x="800" y="2860"/>
                  <a:pt x="800" y="5400"/>
                </a:cubicBezTo>
                <a:cubicBezTo>
                  <a:pt x="800" y="7940"/>
                  <a:pt x="2860" y="10000"/>
                  <a:pt x="5400" y="10000"/>
                </a:cubicBezTo>
                <a:cubicBezTo>
                  <a:pt x="7940" y="10000"/>
                  <a:pt x="10000" y="7940"/>
                  <a:pt x="10000" y="5400"/>
                </a:cubicBezTo>
                <a:cubicBezTo>
                  <a:pt x="10000" y="2860"/>
                  <a:pt x="7940" y="800"/>
                  <a:pt x="5400" y="800"/>
                </a:cubicBezTo>
                <a:close/>
                <a:moveTo>
                  <a:pt x="7400" y="5880"/>
                </a:moveTo>
                <a:lnTo>
                  <a:pt x="5800" y="5880"/>
                </a:lnTo>
                <a:lnTo>
                  <a:pt x="5800" y="5080"/>
                </a:lnTo>
                <a:lnTo>
                  <a:pt x="7400" y="5080"/>
                </a:lnTo>
                <a:cubicBezTo>
                  <a:pt x="7620" y="5080"/>
                  <a:pt x="7800" y="4900"/>
                  <a:pt x="7800" y="4680"/>
                </a:cubicBezTo>
                <a:cubicBezTo>
                  <a:pt x="7800" y="4460"/>
                  <a:pt x="7620" y="4280"/>
                  <a:pt x="7400" y="4280"/>
                </a:cubicBezTo>
                <a:lnTo>
                  <a:pt x="6280" y="4280"/>
                </a:lnTo>
                <a:lnTo>
                  <a:pt x="7380" y="3180"/>
                </a:lnTo>
                <a:cubicBezTo>
                  <a:pt x="7540" y="3020"/>
                  <a:pt x="7540" y="2780"/>
                  <a:pt x="7380" y="2620"/>
                </a:cubicBezTo>
                <a:cubicBezTo>
                  <a:pt x="7220" y="2460"/>
                  <a:pt x="6980" y="2460"/>
                  <a:pt x="6820" y="2620"/>
                </a:cubicBezTo>
                <a:lnTo>
                  <a:pt x="5400" y="4040"/>
                </a:lnTo>
                <a:lnTo>
                  <a:pt x="3980" y="2620"/>
                </a:lnTo>
                <a:cubicBezTo>
                  <a:pt x="3820" y="2460"/>
                  <a:pt x="3580" y="2460"/>
                  <a:pt x="3420" y="2620"/>
                </a:cubicBezTo>
                <a:cubicBezTo>
                  <a:pt x="3260" y="2780"/>
                  <a:pt x="3260" y="3020"/>
                  <a:pt x="3420" y="3180"/>
                </a:cubicBezTo>
                <a:lnTo>
                  <a:pt x="4520" y="4280"/>
                </a:lnTo>
                <a:lnTo>
                  <a:pt x="3400" y="4280"/>
                </a:lnTo>
                <a:cubicBezTo>
                  <a:pt x="3180" y="4280"/>
                  <a:pt x="3000" y="4460"/>
                  <a:pt x="3000" y="4680"/>
                </a:cubicBezTo>
                <a:cubicBezTo>
                  <a:pt x="3000" y="4900"/>
                  <a:pt x="3180" y="5080"/>
                  <a:pt x="3400" y="5080"/>
                </a:cubicBezTo>
                <a:lnTo>
                  <a:pt x="5000" y="5080"/>
                </a:lnTo>
                <a:lnTo>
                  <a:pt x="5000" y="5880"/>
                </a:lnTo>
                <a:lnTo>
                  <a:pt x="3400" y="5880"/>
                </a:lnTo>
                <a:cubicBezTo>
                  <a:pt x="3180" y="5880"/>
                  <a:pt x="3000" y="6060"/>
                  <a:pt x="3000" y="6280"/>
                </a:cubicBezTo>
                <a:cubicBezTo>
                  <a:pt x="3000" y="6500"/>
                  <a:pt x="3180" y="6680"/>
                  <a:pt x="3400" y="6680"/>
                </a:cubicBezTo>
                <a:lnTo>
                  <a:pt x="5000" y="6680"/>
                </a:lnTo>
                <a:lnTo>
                  <a:pt x="5000" y="8280"/>
                </a:lnTo>
                <a:cubicBezTo>
                  <a:pt x="5000" y="8500"/>
                  <a:pt x="5180" y="8680"/>
                  <a:pt x="5400" y="8680"/>
                </a:cubicBezTo>
                <a:cubicBezTo>
                  <a:pt x="5620" y="8680"/>
                  <a:pt x="5800" y="8500"/>
                  <a:pt x="5800" y="8280"/>
                </a:cubicBezTo>
                <a:lnTo>
                  <a:pt x="5800" y="6680"/>
                </a:lnTo>
                <a:lnTo>
                  <a:pt x="7400" y="6680"/>
                </a:lnTo>
                <a:cubicBezTo>
                  <a:pt x="7620" y="6680"/>
                  <a:pt x="7800" y="6500"/>
                  <a:pt x="7800" y="6280"/>
                </a:cubicBezTo>
                <a:cubicBezTo>
                  <a:pt x="7800" y="6060"/>
                  <a:pt x="7620" y="5880"/>
                  <a:pt x="7400" y="5880"/>
                </a:cubicBezTo>
                <a:close/>
              </a:path>
            </a:pathLst>
          </a:custGeom>
          <a:solidFill>
            <a:schemeClr val="bg1"/>
          </a:solidFill>
          <a:ln>
            <a:noFill/>
          </a:ln>
        </p:spPr>
      </p:sp>
    </p:spTree>
  </p:cSld>
  <p:clrMapOvr>
    <a:masterClrMapping/>
  </p:clrMapOvr>
  <mc:AlternateContent xmlns:mc="http://schemas.openxmlformats.org/markup-compatibility/2006">
    <mc:Choice xmlns:p14="http://schemas.microsoft.com/office/powerpoint/2010/main" Requires="p14">
      <p:transition spd="slow" p14:dur="1500" advTm="3000">
        <p:random/>
      </p:transition>
    </mc:Choice>
    <mc:Fallback>
      <p:transition spd="slow" advTm="3000">
        <p:random/>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217930" y="181610"/>
            <a:ext cx="7303135"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spcBef>
                <a:spcPct val="0"/>
              </a:spcBef>
            </a:pP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接口设计</a:t>
            </a: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及类图</a:t>
            </a: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3" name="图片 9"/>
          <p:cNvPicPr>
            <a:picLocks noChangeAspect="1"/>
          </p:cNvPicPr>
          <p:nvPr/>
        </p:nvPicPr>
        <p:blipFill>
          <a:blip r:embed="rId1" cstate="print">
            <a:extLst>
              <a:ext uri="{28A0092B-C50C-407E-A947-70E740481C1C}">
                <a14:useLocalDpi xmlns:a14="http://schemas.microsoft.com/office/drawing/2010/main" val="0"/>
              </a:ext>
            </a:extLst>
          </a:blip>
          <a:srcRect l="1118" t="-2538" r="-199"/>
          <a:stretch>
            <a:fillRect/>
          </a:stretch>
        </p:blipFill>
        <p:spPr>
          <a:xfrm>
            <a:off x="1217930" y="370205"/>
            <a:ext cx="10128885" cy="5644515"/>
          </a:xfrm>
          <a:prstGeom prst="rect">
            <a:avLst/>
          </a:prstGeom>
        </p:spPr>
      </p:pic>
      <p:sp>
        <p:nvSpPr>
          <p:cNvPr id="39" name="矩形 38"/>
          <p:cNvSpPr/>
          <p:nvPr/>
        </p:nvSpPr>
        <p:spPr>
          <a:xfrm>
            <a:off x="494030" y="1210945"/>
            <a:ext cx="723900" cy="3190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接口设计及类</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8" name="文本框 7"/>
          <p:cNvSpPr txBox="1"/>
          <p:nvPr/>
        </p:nvSpPr>
        <p:spPr>
          <a:xfrm>
            <a:off x="10114915" y="5436870"/>
            <a:ext cx="1773555" cy="706755"/>
          </a:xfrm>
          <a:prstGeom prst="rect">
            <a:avLst/>
          </a:prstGeom>
          <a:noFill/>
        </p:spPr>
        <p:txBody>
          <a:bodyPr wrap="square" rtlCol="0">
            <a:spAutoFit/>
          </a:bodyPr>
          <a:p>
            <a:pPr algn="r"/>
            <a:r>
              <a:rPr lang="zh-CN" altLang="en-US" sz="4000">
                <a:solidFill>
                  <a:srgbClr val="746760"/>
                </a:solidFill>
                <a:latin typeface="汉仪粗圆简" panose="02010600000101010101" charset="-122"/>
                <a:ea typeface="汉仪粗圆简" panose="02010600000101010101" charset="-122"/>
              </a:rPr>
              <a:t>客户端</a:t>
            </a:r>
            <a:endParaRPr lang="zh-CN" altLang="en-US" sz="4000">
              <a:solidFill>
                <a:srgbClr val="746760"/>
              </a:solidFill>
              <a:latin typeface="汉仪粗圆简" panose="02010600000101010101" charset="-122"/>
              <a:ea typeface="汉仪粗圆简" panose="02010600000101010101" charset="-122"/>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p:cNvSpPr/>
          <p:nvPr/>
        </p:nvSpPr>
        <p:spPr>
          <a:xfrm>
            <a:off x="1217930" y="181610"/>
            <a:ext cx="7303135"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spcBef>
                <a:spcPct val="0"/>
              </a:spcBef>
            </a:pPr>
            <a:endPar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l">
              <a:spcBef>
                <a:spcPct val="0"/>
              </a:spcBef>
            </a:pP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接口设计</a:t>
            </a: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及类图</a:t>
            </a: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ct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10" name="图片 10"/>
          <p:cNvPicPr>
            <a:picLocks noChangeAspect="1"/>
          </p:cNvPicPr>
          <p:nvPr/>
        </p:nvPicPr>
        <p:blipFill>
          <a:blip r:embed="rId1" cstate="print">
            <a:extLst>
              <a:ext uri="{28A0092B-C50C-407E-A947-70E740481C1C}">
                <a14:useLocalDpi xmlns:a14="http://schemas.microsoft.com/office/drawing/2010/main" val="0"/>
              </a:ext>
            </a:extLst>
          </a:blip>
          <a:srcRect l="-1610" t="-3492" r="-3366" b="-3027"/>
          <a:stretch>
            <a:fillRect/>
          </a:stretch>
        </p:blipFill>
        <p:spPr>
          <a:xfrm>
            <a:off x="1217930" y="41910"/>
            <a:ext cx="10213340" cy="6513195"/>
          </a:xfrm>
          <a:prstGeom prst="rect">
            <a:avLst/>
          </a:prstGeom>
        </p:spPr>
      </p:pic>
      <p:sp>
        <p:nvSpPr>
          <p:cNvPr id="39" name="矩形 38"/>
          <p:cNvSpPr/>
          <p:nvPr/>
        </p:nvSpPr>
        <p:spPr>
          <a:xfrm>
            <a:off x="494030" y="1210945"/>
            <a:ext cx="723900" cy="3190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接口设计及类</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8" name="文本框 7"/>
          <p:cNvSpPr txBox="1"/>
          <p:nvPr/>
        </p:nvSpPr>
        <p:spPr>
          <a:xfrm>
            <a:off x="10261600" y="5273675"/>
            <a:ext cx="1773555" cy="922020"/>
          </a:xfrm>
          <a:prstGeom prst="rect">
            <a:avLst/>
          </a:prstGeom>
          <a:noFill/>
        </p:spPr>
        <p:txBody>
          <a:bodyPr wrap="square" rtlCol="0">
            <a:spAutoFit/>
          </a:bodyPr>
          <a:p>
            <a:pPr algn="ctr"/>
            <a:r>
              <a:rPr lang="en-US" altLang="zh-CN" sz="5400">
                <a:solidFill>
                  <a:srgbClr val="746760"/>
                </a:solidFill>
                <a:latin typeface="汉仪粗圆简" panose="02010600000101010101" charset="-122"/>
                <a:ea typeface="汉仪粗圆简" panose="02010600000101010101" charset="-122"/>
              </a:rPr>
              <a:t>UI</a:t>
            </a:r>
            <a:endParaRPr lang="en-US" altLang="zh-CN" sz="5400">
              <a:solidFill>
                <a:srgbClr val="746760"/>
              </a:solidFill>
              <a:latin typeface="汉仪粗圆简" panose="02010600000101010101" charset="-122"/>
              <a:ea typeface="汉仪粗圆简" panose="02010600000101010101" charset="-122"/>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p:cNvSpPr/>
          <p:nvPr/>
        </p:nvSpPr>
        <p:spPr>
          <a:xfrm>
            <a:off x="1217930" y="181610"/>
            <a:ext cx="7303135"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spcBef>
                <a:spcPct val="0"/>
              </a:spcBef>
            </a:pPr>
            <a:endPar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l">
              <a:spcBef>
                <a:spcPct val="0"/>
              </a:spcBef>
            </a:pP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接口设计</a:t>
            </a:r>
            <a:r>
              <a:rPr lang="zh-CN" altLang="en-US"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rPr>
              <a:t>及类图</a:t>
            </a: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a:p>
            <a:pPr algn="ctr"/>
            <a:endParaRPr lang="en-US" altLang="zh-CN" sz="3200" dirty="0">
              <a:solidFill>
                <a:schemeClr val="tx1">
                  <a:lumMod val="75000"/>
                  <a:lumOff val="25000"/>
                </a:schemeClr>
              </a:solidFill>
              <a:latin typeface="站酷快乐体" panose="02010600030101010101" charset="-128"/>
              <a:ea typeface="站酷快乐体" panose="02010600030101010101" charset="-128"/>
              <a:sym typeface="思源黑体" panose="020B0400000000000000" pitchFamily="34" charset="-122"/>
            </a:endParaRPr>
          </a:p>
        </p:txBody>
      </p:sp>
      <p:sp>
        <p:nvSpPr>
          <p:cNvPr id="38" name="矩形 37"/>
          <p:cNvSpPr/>
          <p:nvPr/>
        </p:nvSpPr>
        <p:spPr>
          <a:xfrm>
            <a:off x="1217930" y="370205"/>
            <a:ext cx="4710430" cy="840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pic>
        <p:nvPicPr>
          <p:cNvPr id="11" name="图片 11"/>
          <p:cNvPicPr>
            <a:picLocks noChangeAspect="1"/>
          </p:cNvPicPr>
          <p:nvPr/>
        </p:nvPicPr>
        <p:blipFill>
          <a:blip r:embed="rId1" cstate="print">
            <a:extLst>
              <a:ext uri="{28A0092B-C50C-407E-A947-70E740481C1C}">
                <a14:useLocalDpi xmlns:a14="http://schemas.microsoft.com/office/drawing/2010/main" val="0"/>
              </a:ext>
            </a:extLst>
          </a:blip>
          <a:srcRect t="-2100" b="-3500"/>
          <a:stretch>
            <a:fillRect/>
          </a:stretch>
        </p:blipFill>
        <p:spPr>
          <a:xfrm>
            <a:off x="1217930" y="181610"/>
            <a:ext cx="10250170" cy="6167120"/>
          </a:xfrm>
          <a:prstGeom prst="rect">
            <a:avLst/>
          </a:prstGeom>
        </p:spPr>
      </p:pic>
      <p:sp>
        <p:nvSpPr>
          <p:cNvPr id="39" name="矩形 38"/>
          <p:cNvSpPr/>
          <p:nvPr/>
        </p:nvSpPr>
        <p:spPr>
          <a:xfrm>
            <a:off x="494030" y="1210945"/>
            <a:ext cx="723900" cy="3190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p>
            <a:pPr algn="l"/>
            <a:r>
              <a:rPr lang="zh-CN" altLang="en-US" sz="3200">
                <a:solidFill>
                  <a:schemeClr val="tx1">
                    <a:lumMod val="75000"/>
                    <a:lumOff val="25000"/>
                  </a:schemeClr>
                </a:solidFill>
                <a:latin typeface="站酷快乐体" panose="02010600030101010101" charset="-128"/>
                <a:ea typeface="站酷快乐体" panose="02010600030101010101" charset="-128"/>
              </a:rPr>
              <a:t>接口设计及类</a:t>
            </a:r>
            <a:r>
              <a:rPr lang="zh-CN" altLang="en-US" sz="3200">
                <a:solidFill>
                  <a:schemeClr val="tx1">
                    <a:lumMod val="75000"/>
                    <a:lumOff val="25000"/>
                  </a:schemeClr>
                </a:solidFill>
                <a:latin typeface="站酷快乐体" panose="02010600030101010101" charset="-128"/>
                <a:ea typeface="站酷快乐体" panose="02010600030101010101" charset="-128"/>
              </a:rPr>
              <a:t>图</a:t>
            </a:r>
            <a:endParaRPr lang="zh-CN" altLang="en-US" sz="3200">
              <a:solidFill>
                <a:schemeClr val="tx1">
                  <a:lumMod val="75000"/>
                  <a:lumOff val="25000"/>
                </a:schemeClr>
              </a:solidFill>
              <a:latin typeface="站酷快乐体" panose="02010600030101010101" charset="-128"/>
              <a:ea typeface="站酷快乐体" panose="02010600030101010101" charset="-128"/>
            </a:endParaRPr>
          </a:p>
        </p:txBody>
      </p:sp>
      <p:sp>
        <p:nvSpPr>
          <p:cNvPr id="8" name="文本框 7"/>
          <p:cNvSpPr txBox="1"/>
          <p:nvPr/>
        </p:nvSpPr>
        <p:spPr>
          <a:xfrm>
            <a:off x="10114915" y="5436870"/>
            <a:ext cx="1773555" cy="706755"/>
          </a:xfrm>
          <a:prstGeom prst="rect">
            <a:avLst/>
          </a:prstGeom>
          <a:noFill/>
        </p:spPr>
        <p:txBody>
          <a:bodyPr wrap="square" rtlCol="0">
            <a:spAutoFit/>
          </a:bodyPr>
          <a:p>
            <a:pPr algn="r"/>
            <a:r>
              <a:rPr lang="zh-CN" altLang="en-US" sz="4000">
                <a:solidFill>
                  <a:srgbClr val="746760"/>
                </a:solidFill>
                <a:latin typeface="汉仪粗圆简" panose="02010600000101010101" charset="-122"/>
                <a:ea typeface="汉仪粗圆简" panose="02010600000101010101" charset="-122"/>
              </a:rPr>
              <a:t>服务器</a:t>
            </a:r>
            <a:endParaRPr lang="zh-CN" altLang="en-US" sz="4000">
              <a:solidFill>
                <a:srgbClr val="746760"/>
              </a:solidFill>
              <a:latin typeface="汉仪粗圆简" panose="02010600000101010101" charset="-122"/>
              <a:ea typeface="汉仪粗圆简" panose="02010600000101010101" charset="-122"/>
            </a:endParaRPr>
          </a:p>
        </p:txBody>
      </p:sp>
    </p:spTree>
  </p:cSld>
  <p:clrMapOvr>
    <a:masterClrMapping/>
  </p:clrMapOvr>
  <mc:AlternateContent xmlns:mc="http://schemas.openxmlformats.org/markup-compatibility/2006">
    <mc:Choice xmlns:p14="http://schemas.microsoft.com/office/powerpoint/2010/main" Requires="p14">
      <p:transition spd="slow" p14:dur="1500" advClick="0" advTm="3000">
        <p:random/>
      </p:transition>
    </mc:Choice>
    <mc:Fallback>
      <p:transition spd="slow" advClick="0" advTm="3000">
        <p:random/>
      </p:transition>
    </mc:Fallback>
  </mc:AlternateContent>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A6S0wzOvQ8a50SA42PUNRg"/>
</p:tagLst>
</file>

<file path=ppt/tags/tag3.xml><?xml version="1.0" encoding="utf-8"?>
<p:tagLst xmlns:p="http://schemas.openxmlformats.org/presentationml/2006/main">
  <p:tag name="KSO_WM_SLIDE_MODEL_TYPE" val="dynamicNum"/>
</p:tagLst>
</file>

<file path=ppt/tags/tag4.xml><?xml version="1.0" encoding="utf-8"?>
<p:tagLst xmlns:p="http://schemas.openxmlformats.org/presentationml/2006/main">
  <p:tag name="KSO_WM_UNIT_PLACING_PICTURE_USER_VIEWPORT" val="{&quot;height&quot;:3240,&quot;width&quot;:8250}"/>
</p:tagLst>
</file>

<file path=ppt/tags/tag5.xml><?xml version="1.0" encoding="utf-8"?>
<p:tagLst xmlns:p="http://schemas.openxmlformats.org/presentationml/2006/main">
  <p:tag name="ISPRING_PRESENTATION_TITLE" val="PowerPoint 演示文稿"/>
</p:tagLst>
</file>

<file path=ppt/theme/theme1.xml><?xml version="1.0" encoding="utf-8"?>
<a:theme xmlns:a="http://schemas.openxmlformats.org/drawingml/2006/main" name="Office Theme">
  <a:themeElements>
    <a:clrScheme name="自定义 1148">
      <a:dk1>
        <a:sysClr val="windowText" lastClr="000000"/>
      </a:dk1>
      <a:lt1>
        <a:sysClr val="window" lastClr="FFFFFF"/>
      </a:lt1>
      <a:dk2>
        <a:srgbClr val="746760"/>
      </a:dk2>
      <a:lt2>
        <a:srgbClr val="E7E6E6"/>
      </a:lt2>
      <a:accent1>
        <a:srgbClr val="FFD497"/>
      </a:accent1>
      <a:accent2>
        <a:srgbClr val="FEDCCA"/>
      </a:accent2>
      <a:accent3>
        <a:srgbClr val="D7DAE2"/>
      </a:accent3>
      <a:accent4>
        <a:srgbClr val="746760"/>
      </a:accent4>
      <a:accent5>
        <a:srgbClr val="D6C9C6"/>
      </a:accent5>
      <a:accent6>
        <a:srgbClr val="FDEFDC"/>
      </a:accent6>
      <a:hlink>
        <a:srgbClr val="A5A5A5"/>
      </a:hlink>
      <a:folHlink>
        <a:srgbClr val="7F7F7F"/>
      </a:folHlink>
    </a:clrScheme>
    <a:fontScheme name="思源黑体">
      <a:majorFont>
        <a:latin typeface="思源黑体 CN Heavy"/>
        <a:ea typeface="思源黑体"/>
        <a:cs typeface=""/>
      </a:majorFont>
      <a:minorFont>
        <a:latin typeface="思源黑体"/>
        <a:ea typeface="思源黑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958</Words>
  <Application>WPS 演示</Application>
  <PresentationFormat>宽屏</PresentationFormat>
  <Paragraphs>213</Paragraphs>
  <Slides>31</Slides>
  <Notes>25</Notes>
  <HiddenSlides>0</HiddenSlides>
  <MMClips>1</MMClips>
  <ScaleCrop>false</ScaleCrop>
  <HeadingPairs>
    <vt:vector size="8" baseType="variant">
      <vt:variant>
        <vt:lpstr>已用的字体</vt:lpstr>
      </vt:variant>
      <vt:variant>
        <vt:i4>14</vt:i4>
      </vt:variant>
      <vt:variant>
        <vt:lpstr>主题</vt:lpstr>
      </vt:variant>
      <vt:variant>
        <vt:i4>1</vt:i4>
      </vt:variant>
      <vt:variant>
        <vt:lpstr>嵌入 OLE 服务器</vt:lpstr>
      </vt:variant>
      <vt:variant>
        <vt:i4>1</vt:i4>
      </vt:variant>
      <vt:variant>
        <vt:lpstr>幻灯片标题</vt:lpstr>
      </vt:variant>
      <vt:variant>
        <vt:i4>31</vt:i4>
      </vt:variant>
    </vt:vector>
  </HeadingPairs>
  <TitlesOfParts>
    <vt:vector size="47" baseType="lpstr">
      <vt:lpstr>Arial</vt:lpstr>
      <vt:lpstr>宋体</vt:lpstr>
      <vt:lpstr>Wingdings</vt:lpstr>
      <vt:lpstr>思源黑体</vt:lpstr>
      <vt:lpstr>黑体</vt:lpstr>
      <vt:lpstr>Montserrat</vt:lpstr>
      <vt:lpstr>Segoe Print</vt:lpstr>
      <vt:lpstr>思源黑体 CN Heavy</vt:lpstr>
      <vt:lpstr>汉仪粗圆简</vt:lpstr>
      <vt:lpstr>站酷快乐体</vt:lpstr>
      <vt:lpstr>微软雅黑</vt:lpstr>
      <vt:lpstr>Arial Unicode MS</vt:lpstr>
      <vt:lpstr>等线</vt:lpstr>
      <vt:lpstr>Calibri</vt:lpstr>
      <vt:lpstr>Office Theme</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_~</cp:lastModifiedBy>
  <cp:revision>122</cp:revision>
  <dcterms:created xsi:type="dcterms:W3CDTF">2019-07-11T04:52:00Z</dcterms:created>
  <dcterms:modified xsi:type="dcterms:W3CDTF">2021-04-23T13:1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0463</vt:lpwstr>
  </property>
  <property fmtid="{D5CDD505-2E9C-101B-9397-08002B2CF9AE}" pid="3" name="ICV">
    <vt:lpwstr>B053392605AB4E49B880A75FEB73885D</vt:lpwstr>
  </property>
</Properties>
</file>